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9" r:id="rId4"/>
    <p:sldMasterId id="2147483913" r:id="rId5"/>
    <p:sldMasterId id="2147483942" r:id="rId6"/>
    <p:sldMasterId id="2147484027" r:id="rId7"/>
    <p:sldMasterId id="2147484064" r:id="rId8"/>
    <p:sldMasterId id="2147484108" r:id="rId9"/>
  </p:sldMasterIdLst>
  <p:notesMasterIdLst>
    <p:notesMasterId r:id="rId18"/>
  </p:notesMasterIdLst>
  <p:handoutMasterIdLst>
    <p:handoutMasterId r:id="rId19"/>
  </p:handoutMasterIdLst>
  <p:sldIdLst>
    <p:sldId id="2147468893" r:id="rId10"/>
    <p:sldId id="2147468903" r:id="rId11"/>
    <p:sldId id="2147468904" r:id="rId12"/>
    <p:sldId id="2147468905" r:id="rId13"/>
    <p:sldId id="2147468910" r:id="rId14"/>
    <p:sldId id="2147468907" r:id="rId15"/>
    <p:sldId id="2147468908" r:id="rId16"/>
    <p:sldId id="2147468909" r:id="rId17"/>
  </p:sldIdLst>
  <p:sldSz cx="9144000" cy="5143500" type="screen16x9"/>
  <p:notesSz cx="6858000" cy="9144000"/>
  <p:defaultTextStyle>
    <a:defPPr>
      <a:defRPr lang="en-US"/>
    </a:defPPr>
    <a:lvl1pPr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355600" indent="101600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712788" indent="2016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68388" indent="3032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425575" indent="403225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683">
          <p15:clr>
            <a:srgbClr val="A4A3A4"/>
          </p15:clr>
        </p15:guide>
        <p15:guide id="2" pos="147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66"/>
    <a:srgbClr val="EB6C15"/>
    <a:srgbClr val="CC0099"/>
    <a:srgbClr val="99FF99"/>
    <a:srgbClr val="AE702C"/>
    <a:srgbClr val="F0B6EA"/>
    <a:srgbClr val="FC6CDD"/>
    <a:srgbClr val="ACAAFC"/>
    <a:srgbClr val="FFC4A7"/>
    <a:srgbClr val="9C95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62F86F-201F-4E57-8F91-4553CC22843D}" v="14" dt="2023-06-26T10:51:34.9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>
        <p:guide orient="horz" pos="6683"/>
        <p:guide pos="1472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geti, Ratna Kumar (Credit Systems)" userId="04a8b388-baeb-417a-8fe4-a3b078054c0b" providerId="ADAL" clId="{7962F86F-201F-4E57-8F91-4553CC22843D}"/>
    <pc:docChg chg="undo redo custSel addSld delSld modSld">
      <pc:chgData name="Dangeti, Ratna Kumar (Credit Systems)" userId="04a8b388-baeb-417a-8fe4-a3b078054c0b" providerId="ADAL" clId="{7962F86F-201F-4E57-8F91-4553CC22843D}" dt="2023-06-26T11:20:10.051" v="321" actId="5793"/>
      <pc:docMkLst>
        <pc:docMk/>
      </pc:docMkLst>
      <pc:sldChg chg="addSp delSp modSp mod">
        <pc:chgData name="Dangeti, Ratna Kumar (Credit Systems)" userId="04a8b388-baeb-417a-8fe4-a3b078054c0b" providerId="ADAL" clId="{7962F86F-201F-4E57-8F91-4553CC22843D}" dt="2023-06-26T10:43:36.566" v="109" actId="403"/>
        <pc:sldMkLst>
          <pc:docMk/>
          <pc:sldMk cId="347533984" sldId="2147468893"/>
        </pc:sldMkLst>
        <pc:spChg chg="del mod">
          <ac:chgData name="Dangeti, Ratna Kumar (Credit Systems)" userId="04a8b388-baeb-417a-8fe4-a3b078054c0b" providerId="ADAL" clId="{7962F86F-201F-4E57-8F91-4553CC22843D}" dt="2023-06-26T10:42:26.515" v="89" actId="478"/>
          <ac:spMkLst>
            <pc:docMk/>
            <pc:sldMk cId="347533984" sldId="2147468893"/>
            <ac:spMk id="2" creationId="{A30E9A29-FB27-C1CF-025E-DD83AA480577}"/>
          </ac:spMkLst>
        </pc:spChg>
        <pc:spChg chg="add mod">
          <ac:chgData name="Dangeti, Ratna Kumar (Credit Systems)" userId="04a8b388-baeb-417a-8fe4-a3b078054c0b" providerId="ADAL" clId="{7962F86F-201F-4E57-8F91-4553CC22843D}" dt="2023-06-26T10:43:36.566" v="109" actId="403"/>
          <ac:spMkLst>
            <pc:docMk/>
            <pc:sldMk cId="347533984" sldId="2147468893"/>
            <ac:spMk id="4" creationId="{07AE6989-60F2-98C7-3C96-91EDD446D025}"/>
          </ac:spMkLst>
        </pc:spChg>
        <pc:spChg chg="mod">
          <ac:chgData name="Dangeti, Ratna Kumar (Credit Systems)" userId="04a8b388-baeb-417a-8fe4-a3b078054c0b" providerId="ADAL" clId="{7962F86F-201F-4E57-8F91-4553CC22843D}" dt="2023-06-26T10:24:55.679" v="8" actId="404"/>
          <ac:spMkLst>
            <pc:docMk/>
            <pc:sldMk cId="347533984" sldId="2147468893"/>
            <ac:spMk id="18" creationId="{2DAB0C36-552B-42EC-84B7-075687E34542}"/>
          </ac:spMkLst>
        </pc:spChg>
      </pc:sldChg>
      <pc:sldChg chg="addSp delSp modSp mod">
        <pc:chgData name="Dangeti, Ratna Kumar (Credit Systems)" userId="04a8b388-baeb-417a-8fe4-a3b078054c0b" providerId="ADAL" clId="{7962F86F-201F-4E57-8F91-4553CC22843D}" dt="2023-06-26T10:43:57.015" v="111" actId="108"/>
        <pc:sldMkLst>
          <pc:docMk/>
          <pc:sldMk cId="1126164050" sldId="2147468903"/>
        </pc:sldMkLst>
        <pc:spChg chg="add del">
          <ac:chgData name="Dangeti, Ratna Kumar (Credit Systems)" userId="04a8b388-baeb-417a-8fe4-a3b078054c0b" providerId="ADAL" clId="{7962F86F-201F-4E57-8F91-4553CC22843D}" dt="2023-06-26T10:25:46.754" v="12" actId="22"/>
          <ac:spMkLst>
            <pc:docMk/>
            <pc:sldMk cId="1126164050" sldId="2147468903"/>
            <ac:spMk id="4" creationId="{D1A73E81-FF38-CDAF-E6F5-5ABB06F278D2}"/>
          </ac:spMkLst>
        </pc:spChg>
        <pc:spChg chg="add del mod">
          <ac:chgData name="Dangeti, Ratna Kumar (Credit Systems)" userId="04a8b388-baeb-417a-8fe4-a3b078054c0b" providerId="ADAL" clId="{7962F86F-201F-4E57-8F91-4553CC22843D}" dt="2023-06-26T10:26:29.913" v="24" actId="22"/>
          <ac:spMkLst>
            <pc:docMk/>
            <pc:sldMk cId="1126164050" sldId="2147468903"/>
            <ac:spMk id="8" creationId="{78FC1520-193D-A1DB-3395-A7FDC53B6235}"/>
          </ac:spMkLst>
        </pc:spChg>
        <pc:spChg chg="add mod">
          <ac:chgData name="Dangeti, Ratna Kumar (Credit Systems)" userId="04a8b388-baeb-417a-8fe4-a3b078054c0b" providerId="ADAL" clId="{7962F86F-201F-4E57-8F91-4553CC22843D}" dt="2023-06-26T10:26:53.215" v="28" actId="14100"/>
          <ac:spMkLst>
            <pc:docMk/>
            <pc:sldMk cId="1126164050" sldId="2147468903"/>
            <ac:spMk id="10" creationId="{6AC7E2BC-6A2D-771E-84F2-27F790A3E9C5}"/>
          </ac:spMkLst>
        </pc:spChg>
        <pc:spChg chg="mod">
          <ac:chgData name="Dangeti, Ratna Kumar (Credit Systems)" userId="04a8b388-baeb-417a-8fe4-a3b078054c0b" providerId="ADAL" clId="{7962F86F-201F-4E57-8F91-4553CC22843D}" dt="2023-06-26T10:43:57.015" v="111" actId="108"/>
          <ac:spMkLst>
            <pc:docMk/>
            <pc:sldMk cId="1126164050" sldId="2147468903"/>
            <ac:spMk id="18" creationId="{2DAB0C36-552B-42EC-84B7-075687E34542}"/>
          </ac:spMkLst>
        </pc:spChg>
        <pc:picChg chg="del">
          <ac:chgData name="Dangeti, Ratna Kumar (Credit Systems)" userId="04a8b388-baeb-417a-8fe4-a3b078054c0b" providerId="ADAL" clId="{7962F86F-201F-4E57-8F91-4553CC22843D}" dt="2023-06-26T10:25:18.728" v="9" actId="478"/>
          <ac:picMkLst>
            <pc:docMk/>
            <pc:sldMk cId="1126164050" sldId="2147468903"/>
            <ac:picMk id="2" creationId="{CA6931F1-9C5D-4E81-0B5F-41B309D3701A}"/>
          </ac:picMkLst>
        </pc:picChg>
        <pc:picChg chg="add del mod">
          <ac:chgData name="Dangeti, Ratna Kumar (Credit Systems)" userId="04a8b388-baeb-417a-8fe4-a3b078054c0b" providerId="ADAL" clId="{7962F86F-201F-4E57-8F91-4553CC22843D}" dt="2023-06-26T10:26:07.507" v="16" actId="22"/>
          <ac:picMkLst>
            <pc:docMk/>
            <pc:sldMk cId="1126164050" sldId="2147468903"/>
            <ac:picMk id="6" creationId="{F1FC4E96-928D-4BC4-667D-1961740AE345}"/>
          </ac:picMkLst>
        </pc:picChg>
      </pc:sldChg>
      <pc:sldChg chg="addSp delSp modSp add mod">
        <pc:chgData name="Dangeti, Ratna Kumar (Credit Systems)" userId="04a8b388-baeb-417a-8fe4-a3b078054c0b" providerId="ADAL" clId="{7962F86F-201F-4E57-8F91-4553CC22843D}" dt="2023-06-26T10:44:31.068" v="113" actId="108"/>
        <pc:sldMkLst>
          <pc:docMk/>
          <pc:sldMk cId="996837541" sldId="2147468904"/>
        </pc:sldMkLst>
        <pc:spChg chg="add mod">
          <ac:chgData name="Dangeti, Ratna Kumar (Credit Systems)" userId="04a8b388-baeb-417a-8fe4-a3b078054c0b" providerId="ADAL" clId="{7962F86F-201F-4E57-8F91-4553CC22843D}" dt="2023-06-26T10:27:53.226" v="38" actId="14100"/>
          <ac:spMkLst>
            <pc:docMk/>
            <pc:sldMk cId="996837541" sldId="2147468904"/>
            <ac:spMk id="3" creationId="{22087F28-BD8A-71A2-159C-24D0A4235A3E}"/>
          </ac:spMkLst>
        </pc:spChg>
        <pc:spChg chg="del">
          <ac:chgData name="Dangeti, Ratna Kumar (Credit Systems)" userId="04a8b388-baeb-417a-8fe4-a3b078054c0b" providerId="ADAL" clId="{7962F86F-201F-4E57-8F91-4553CC22843D}" dt="2023-06-26T10:27:43.353" v="35" actId="478"/>
          <ac:spMkLst>
            <pc:docMk/>
            <pc:sldMk cId="996837541" sldId="2147468904"/>
            <ac:spMk id="10" creationId="{6AC7E2BC-6A2D-771E-84F2-27F790A3E9C5}"/>
          </ac:spMkLst>
        </pc:spChg>
        <pc:spChg chg="mod">
          <ac:chgData name="Dangeti, Ratna Kumar (Credit Systems)" userId="04a8b388-baeb-417a-8fe4-a3b078054c0b" providerId="ADAL" clId="{7962F86F-201F-4E57-8F91-4553CC22843D}" dt="2023-06-26T10:44:31.068" v="113" actId="108"/>
          <ac:spMkLst>
            <pc:docMk/>
            <pc:sldMk cId="996837541" sldId="2147468904"/>
            <ac:spMk id="18" creationId="{2DAB0C36-552B-42EC-84B7-075687E34542}"/>
          </ac:spMkLst>
        </pc:spChg>
      </pc:sldChg>
      <pc:sldChg chg="addSp delSp modSp add mod">
        <pc:chgData name="Dangeti, Ratna Kumar (Credit Systems)" userId="04a8b388-baeb-417a-8fe4-a3b078054c0b" providerId="ADAL" clId="{7962F86F-201F-4E57-8F91-4553CC22843D}" dt="2023-06-26T10:58:01.585" v="217" actId="1076"/>
        <pc:sldMkLst>
          <pc:docMk/>
          <pc:sldMk cId="1130837866" sldId="2147468905"/>
        </pc:sldMkLst>
        <pc:spChg chg="add del">
          <ac:chgData name="Dangeti, Ratna Kumar (Credit Systems)" userId="04a8b388-baeb-417a-8fe4-a3b078054c0b" providerId="ADAL" clId="{7962F86F-201F-4E57-8F91-4553CC22843D}" dt="2023-06-26T10:28:37.368" v="47" actId="22"/>
          <ac:spMkLst>
            <pc:docMk/>
            <pc:sldMk cId="1130837866" sldId="2147468905"/>
            <ac:spMk id="3" creationId="{F260697E-A4F4-B5EC-2427-373C947D6A3D}"/>
          </ac:spMkLst>
        </pc:spChg>
        <pc:spChg chg="add del">
          <ac:chgData name="Dangeti, Ratna Kumar (Credit Systems)" userId="04a8b388-baeb-417a-8fe4-a3b078054c0b" providerId="ADAL" clId="{7962F86F-201F-4E57-8F91-4553CC22843D}" dt="2023-06-26T10:29:03.026" v="53" actId="22"/>
          <ac:spMkLst>
            <pc:docMk/>
            <pc:sldMk cId="1130837866" sldId="2147468905"/>
            <ac:spMk id="5" creationId="{5A215635-713E-DDFE-BD4E-E249F6EE7C10}"/>
          </ac:spMkLst>
        </pc:spChg>
        <pc:spChg chg="add mod">
          <ac:chgData name="Dangeti, Ratna Kumar (Credit Systems)" userId="04a8b388-baeb-417a-8fe4-a3b078054c0b" providerId="ADAL" clId="{7962F86F-201F-4E57-8F91-4553CC22843D}" dt="2023-06-26T10:57:21.975" v="202" actId="14100"/>
          <ac:spMkLst>
            <pc:docMk/>
            <pc:sldMk cId="1130837866" sldId="2147468905"/>
            <ac:spMk id="8" creationId="{36858D3D-E0D5-33CB-25E1-C4FE8535BB18}"/>
          </ac:spMkLst>
        </pc:spChg>
        <pc:spChg chg="del mod">
          <ac:chgData name="Dangeti, Ratna Kumar (Credit Systems)" userId="04a8b388-baeb-417a-8fe4-a3b078054c0b" providerId="ADAL" clId="{7962F86F-201F-4E57-8F91-4553CC22843D}" dt="2023-06-26T10:28:32.351" v="45" actId="478"/>
          <ac:spMkLst>
            <pc:docMk/>
            <pc:sldMk cId="1130837866" sldId="2147468905"/>
            <ac:spMk id="10" creationId="{6AC7E2BC-6A2D-771E-84F2-27F790A3E9C5}"/>
          </ac:spMkLst>
        </pc:spChg>
        <pc:spChg chg="mod">
          <ac:chgData name="Dangeti, Ratna Kumar (Credit Systems)" userId="04a8b388-baeb-417a-8fe4-a3b078054c0b" providerId="ADAL" clId="{7962F86F-201F-4E57-8F91-4553CC22843D}" dt="2023-06-26T10:44:36.102" v="114" actId="108"/>
          <ac:spMkLst>
            <pc:docMk/>
            <pc:sldMk cId="1130837866" sldId="2147468905"/>
            <ac:spMk id="18" creationId="{2DAB0C36-552B-42EC-84B7-075687E34542}"/>
          </ac:spMkLst>
        </pc:spChg>
        <pc:picChg chg="add del mod">
          <ac:chgData name="Dangeti, Ratna Kumar (Credit Systems)" userId="04a8b388-baeb-417a-8fe4-a3b078054c0b" providerId="ADAL" clId="{7962F86F-201F-4E57-8F91-4553CC22843D}" dt="2023-06-26T10:29:21.300" v="57" actId="22"/>
          <ac:picMkLst>
            <pc:docMk/>
            <pc:sldMk cId="1130837866" sldId="2147468905"/>
            <ac:picMk id="7" creationId="{E94B085E-EFD6-ABFC-1317-84EB405C906D}"/>
          </ac:picMkLst>
        </pc:picChg>
        <pc:picChg chg="add del">
          <ac:chgData name="Dangeti, Ratna Kumar (Credit Systems)" userId="04a8b388-baeb-417a-8fe4-a3b078054c0b" providerId="ADAL" clId="{7962F86F-201F-4E57-8F91-4553CC22843D}" dt="2023-06-26T10:57:15.206" v="201" actId="22"/>
          <ac:picMkLst>
            <pc:docMk/>
            <pc:sldMk cId="1130837866" sldId="2147468905"/>
            <ac:picMk id="11" creationId="{8E88C03D-E816-CD41-0FC1-300B55824250}"/>
          </ac:picMkLst>
        </pc:picChg>
        <pc:picChg chg="add mod">
          <ac:chgData name="Dangeti, Ratna Kumar (Credit Systems)" userId="04a8b388-baeb-417a-8fe4-a3b078054c0b" providerId="ADAL" clId="{7962F86F-201F-4E57-8F91-4553CC22843D}" dt="2023-06-26T10:58:01.585" v="217" actId="1076"/>
          <ac:picMkLst>
            <pc:docMk/>
            <pc:sldMk cId="1130837866" sldId="2147468905"/>
            <ac:picMk id="13" creationId="{E15B7B11-D19D-92B1-20F6-5C17BC404928}"/>
          </ac:picMkLst>
        </pc:picChg>
      </pc:sldChg>
      <pc:sldChg chg="add del">
        <pc:chgData name="Dangeti, Ratna Kumar (Credit Systems)" userId="04a8b388-baeb-417a-8fe4-a3b078054c0b" providerId="ADAL" clId="{7962F86F-201F-4E57-8F91-4553CC22843D}" dt="2023-06-26T10:46:20.134" v="125" actId="47"/>
        <pc:sldMkLst>
          <pc:docMk/>
          <pc:sldMk cId="2978538833" sldId="2147468906"/>
        </pc:sldMkLst>
      </pc:sldChg>
      <pc:sldChg chg="addSp delSp modSp add mod">
        <pc:chgData name="Dangeti, Ratna Kumar (Credit Systems)" userId="04a8b388-baeb-417a-8fe4-a3b078054c0b" providerId="ADAL" clId="{7962F86F-201F-4E57-8F91-4553CC22843D}" dt="2023-06-26T11:20:10.051" v="321" actId="5793"/>
        <pc:sldMkLst>
          <pc:docMk/>
          <pc:sldMk cId="1326203597" sldId="2147468907"/>
        </pc:sldMkLst>
        <pc:spChg chg="add del mod">
          <ac:chgData name="Dangeti, Ratna Kumar (Credit Systems)" userId="04a8b388-baeb-417a-8fe4-a3b078054c0b" providerId="ADAL" clId="{7962F86F-201F-4E57-8F91-4553CC22843D}" dt="2023-06-26T10:32:49.464" v="77"/>
          <ac:spMkLst>
            <pc:docMk/>
            <pc:sldMk cId="1326203597" sldId="2147468907"/>
            <ac:spMk id="2" creationId="{9DFB8A06-3E21-DAB2-DFFD-1311F4D32F55}"/>
          </ac:spMkLst>
        </pc:spChg>
        <pc:spChg chg="add mod">
          <ac:chgData name="Dangeti, Ratna Kumar (Credit Systems)" userId="04a8b388-baeb-417a-8fe4-a3b078054c0b" providerId="ADAL" clId="{7962F86F-201F-4E57-8F91-4553CC22843D}" dt="2023-06-26T11:20:10.051" v="321" actId="5793"/>
          <ac:spMkLst>
            <pc:docMk/>
            <pc:sldMk cId="1326203597" sldId="2147468907"/>
            <ac:spMk id="4" creationId="{D03B88F2-4A96-A02C-D997-BD1CDD9D4994}"/>
          </ac:spMkLst>
        </pc:spChg>
        <pc:spChg chg="mod">
          <ac:chgData name="Dangeti, Ratna Kumar (Credit Systems)" userId="04a8b388-baeb-417a-8fe4-a3b078054c0b" providerId="ADAL" clId="{7962F86F-201F-4E57-8F91-4553CC22843D}" dt="2023-06-26T10:45:49.321" v="122" actId="108"/>
          <ac:spMkLst>
            <pc:docMk/>
            <pc:sldMk cId="1326203597" sldId="2147468907"/>
            <ac:spMk id="18" creationId="{2DAB0C36-552B-42EC-84B7-075687E34542}"/>
          </ac:spMkLst>
        </pc:spChg>
      </pc:sldChg>
      <pc:sldChg chg="addSp modSp add mod">
        <pc:chgData name="Dangeti, Ratna Kumar (Credit Systems)" userId="04a8b388-baeb-417a-8fe4-a3b078054c0b" providerId="ADAL" clId="{7962F86F-201F-4E57-8F91-4553CC22843D}" dt="2023-06-26T10:45:56.506" v="123" actId="108"/>
        <pc:sldMkLst>
          <pc:docMk/>
          <pc:sldMk cId="2442736143" sldId="2147468908"/>
        </pc:sldMkLst>
        <pc:spChg chg="add mod">
          <ac:chgData name="Dangeti, Ratna Kumar (Credit Systems)" userId="04a8b388-baeb-417a-8fe4-a3b078054c0b" providerId="ADAL" clId="{7962F86F-201F-4E57-8F91-4553CC22843D}" dt="2023-06-26T10:33:40.870" v="84" actId="14100"/>
          <ac:spMkLst>
            <pc:docMk/>
            <pc:sldMk cId="2442736143" sldId="2147468908"/>
            <ac:spMk id="3" creationId="{BD078E53-5B6A-5051-1E9E-CF600A6DEFA3}"/>
          </ac:spMkLst>
        </pc:spChg>
        <pc:spChg chg="mod">
          <ac:chgData name="Dangeti, Ratna Kumar (Credit Systems)" userId="04a8b388-baeb-417a-8fe4-a3b078054c0b" providerId="ADAL" clId="{7962F86F-201F-4E57-8F91-4553CC22843D}" dt="2023-06-26T10:45:56.506" v="123" actId="108"/>
          <ac:spMkLst>
            <pc:docMk/>
            <pc:sldMk cId="2442736143" sldId="2147468908"/>
            <ac:spMk id="18" creationId="{2DAB0C36-552B-42EC-84B7-075687E34542}"/>
          </ac:spMkLst>
        </pc:spChg>
      </pc:sldChg>
      <pc:sldChg chg="addSp modSp add mod">
        <pc:chgData name="Dangeti, Ratna Kumar (Credit Systems)" userId="04a8b388-baeb-417a-8fe4-a3b078054c0b" providerId="ADAL" clId="{7962F86F-201F-4E57-8F91-4553CC22843D}" dt="2023-06-26T11:07:09.330" v="318" actId="6549"/>
        <pc:sldMkLst>
          <pc:docMk/>
          <pc:sldMk cId="2942613396" sldId="2147468909"/>
        </pc:sldMkLst>
        <pc:spChg chg="add mod">
          <ac:chgData name="Dangeti, Ratna Kumar (Credit Systems)" userId="04a8b388-baeb-417a-8fe4-a3b078054c0b" providerId="ADAL" clId="{7962F86F-201F-4E57-8F91-4553CC22843D}" dt="2023-06-26T11:07:09.330" v="318" actId="6549"/>
          <ac:spMkLst>
            <pc:docMk/>
            <pc:sldMk cId="2942613396" sldId="2147468909"/>
            <ac:spMk id="3" creationId="{535BE952-25FC-9D5E-A18F-D6C8EAFBA31A}"/>
          </ac:spMkLst>
        </pc:spChg>
        <pc:spChg chg="mod">
          <ac:chgData name="Dangeti, Ratna Kumar (Credit Systems)" userId="04a8b388-baeb-417a-8fe4-a3b078054c0b" providerId="ADAL" clId="{7962F86F-201F-4E57-8F91-4553CC22843D}" dt="2023-06-26T10:46:08.354" v="124" actId="108"/>
          <ac:spMkLst>
            <pc:docMk/>
            <pc:sldMk cId="2942613396" sldId="2147468909"/>
            <ac:spMk id="18" creationId="{2DAB0C36-552B-42EC-84B7-075687E34542}"/>
          </ac:spMkLst>
        </pc:spChg>
      </pc:sldChg>
      <pc:sldChg chg="addSp delSp modSp add mod setBg">
        <pc:chgData name="Dangeti, Ratna Kumar (Credit Systems)" userId="04a8b388-baeb-417a-8fe4-a3b078054c0b" providerId="ADAL" clId="{7962F86F-201F-4E57-8F91-4553CC22843D}" dt="2023-06-26T11:00:57.787" v="221" actId="1076"/>
        <pc:sldMkLst>
          <pc:docMk/>
          <pc:sldMk cId="3486557051" sldId="2147468910"/>
        </pc:sldMkLst>
        <pc:spChg chg="add del">
          <ac:chgData name="Dangeti, Ratna Kumar (Credit Systems)" userId="04a8b388-baeb-417a-8fe4-a3b078054c0b" providerId="ADAL" clId="{7962F86F-201F-4E57-8F91-4553CC22843D}" dt="2023-06-26T10:31:37.683" v="67" actId="22"/>
          <ac:spMkLst>
            <pc:docMk/>
            <pc:sldMk cId="3486557051" sldId="2147468910"/>
            <ac:spMk id="3" creationId="{46D2263C-8985-83CF-326E-1E33CDFFF558}"/>
          </ac:spMkLst>
        </pc:spChg>
        <pc:spChg chg="add mod">
          <ac:chgData name="Dangeti, Ratna Kumar (Credit Systems)" userId="04a8b388-baeb-417a-8fe4-a3b078054c0b" providerId="ADAL" clId="{7962F86F-201F-4E57-8F91-4553CC22843D}" dt="2023-06-26T11:00:46.621" v="219" actId="1076"/>
          <ac:spMkLst>
            <pc:docMk/>
            <pc:sldMk cId="3486557051" sldId="2147468910"/>
            <ac:spMk id="4" creationId="{9C24BE9F-18B4-EEA9-5B90-06FF908C0E07}"/>
          </ac:spMkLst>
        </pc:spChg>
        <pc:spChg chg="add mod">
          <ac:chgData name="Dangeti, Ratna Kumar (Credit Systems)" userId="04a8b388-baeb-417a-8fe4-a3b078054c0b" providerId="ADAL" clId="{7962F86F-201F-4E57-8F91-4553CC22843D}" dt="2023-06-26T10:51:34.945" v="195" actId="571"/>
          <ac:spMkLst>
            <pc:docMk/>
            <pc:sldMk cId="3486557051" sldId="2147468910"/>
            <ac:spMk id="5" creationId="{756F042B-9B5E-0092-3EA9-98FF7792B163}"/>
          </ac:spMkLst>
        </pc:spChg>
        <pc:spChg chg="mod">
          <ac:chgData name="Dangeti, Ratna Kumar (Credit Systems)" userId="04a8b388-baeb-417a-8fe4-a3b078054c0b" providerId="ADAL" clId="{7962F86F-201F-4E57-8F91-4553CC22843D}" dt="2023-06-26T10:45:25.654" v="120" actId="108"/>
          <ac:spMkLst>
            <pc:docMk/>
            <pc:sldMk cId="3486557051" sldId="2147468910"/>
            <ac:spMk id="18" creationId="{2DAB0C36-552B-42EC-84B7-075687E34542}"/>
          </ac:spMkLst>
        </pc:spChg>
        <pc:picChg chg="add mod">
          <ac:chgData name="Dangeti, Ratna Kumar (Credit Systems)" userId="04a8b388-baeb-417a-8fe4-a3b078054c0b" providerId="ADAL" clId="{7962F86F-201F-4E57-8F91-4553CC22843D}" dt="2023-06-26T11:00:57.787" v="221" actId="1076"/>
          <ac:picMkLst>
            <pc:docMk/>
            <pc:sldMk cId="3486557051" sldId="2147468910"/>
            <ac:picMk id="7" creationId="{82905877-3042-68FA-1C43-ABB5A150735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713232" fontAlgn="auto">
              <a:spcBef>
                <a:spcPts val="0"/>
              </a:spcBef>
              <a:spcAft>
                <a:spcPts val="0"/>
              </a:spcAft>
              <a:defRPr sz="1200" dirty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713232" fontAlgn="auto">
              <a:spcBef>
                <a:spcPts val="0"/>
              </a:spcBef>
              <a:spcAft>
                <a:spcPts val="0"/>
              </a:spcAft>
              <a:defRPr sz="1200" smtClean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9847B86D-3AAA-4866-AC39-60318C953193}" type="datetimeFigureOut">
              <a:rPr lang="en-US"/>
              <a:pPr>
                <a:defRPr/>
              </a:pPr>
              <a:t>6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713232" fontAlgn="auto">
              <a:spcBef>
                <a:spcPts val="0"/>
              </a:spcBef>
              <a:spcAft>
                <a:spcPts val="0"/>
              </a:spcAft>
              <a:defRPr sz="1200" dirty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713232" fontAlgn="auto">
              <a:spcBef>
                <a:spcPts val="0"/>
              </a:spcBef>
              <a:spcAft>
                <a:spcPts val="0"/>
              </a:spcAft>
              <a:defRPr sz="1200" smtClean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FDA38BB7-2791-4D38-A92C-330A48A3DD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7046" name="hc" descr=" "/>
          <p:cNvSpPr txBox="1">
            <a:spLocks noChangeArrowheads="1"/>
          </p:cNvSpPr>
          <p:nvPr/>
        </p:nvSpPr>
        <p:spPr bwMode="auto">
          <a:xfrm>
            <a:off x="0" y="0"/>
            <a:ext cx="6858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>
                <a:latin typeface="Calibri" pitchFamily="34" charset="0"/>
              </a:rPr>
              <a:t> </a:t>
            </a:r>
          </a:p>
        </p:txBody>
      </p:sp>
      <p:sp>
        <p:nvSpPr>
          <p:cNvPr id="87047" name="fc" descr=" "/>
          <p:cNvSpPr txBox="1">
            <a:spLocks noChangeArrowheads="1"/>
          </p:cNvSpPr>
          <p:nvPr/>
        </p:nvSpPr>
        <p:spPr bwMode="auto">
          <a:xfrm>
            <a:off x="0" y="8740775"/>
            <a:ext cx="685800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>
                <a:latin typeface="Calibri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5353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713232" fontAlgn="auto">
              <a:spcBef>
                <a:spcPts val="0"/>
              </a:spcBef>
              <a:spcAft>
                <a:spcPts val="0"/>
              </a:spcAft>
              <a:defRPr sz="1200" dirty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713232" fontAlgn="auto">
              <a:spcBef>
                <a:spcPts val="0"/>
              </a:spcBef>
              <a:spcAft>
                <a:spcPts val="0"/>
              </a:spcAft>
              <a:defRPr sz="1200" smtClean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449C2BA9-B00A-4EE1-8233-538EF1F69B28}" type="datetimeFigureOut">
              <a:rPr lang="en-GB"/>
              <a:pPr>
                <a:defRPr/>
              </a:pPr>
              <a:t>26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713232" fontAlgn="auto">
              <a:spcBef>
                <a:spcPts val="0"/>
              </a:spcBef>
              <a:spcAft>
                <a:spcPts val="0"/>
              </a:spcAft>
              <a:defRPr sz="1200" dirty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713232" fontAlgn="auto">
              <a:spcBef>
                <a:spcPts val="0"/>
              </a:spcBef>
              <a:spcAft>
                <a:spcPts val="0"/>
              </a:spcAft>
              <a:defRPr sz="1200" smtClean="0">
                <a:latin typeface="Helvetica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A41D4AA5-FE89-407B-8F77-FB697CBD9C3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1928" name="hc" descr=" "/>
          <p:cNvSpPr txBox="1">
            <a:spLocks noChangeArrowheads="1"/>
          </p:cNvSpPr>
          <p:nvPr/>
        </p:nvSpPr>
        <p:spPr bwMode="auto">
          <a:xfrm>
            <a:off x="0" y="0"/>
            <a:ext cx="6858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>
                <a:latin typeface="Calibri" pitchFamily="34" charset="0"/>
              </a:rPr>
              <a:t> </a:t>
            </a:r>
          </a:p>
        </p:txBody>
      </p:sp>
      <p:sp>
        <p:nvSpPr>
          <p:cNvPr id="81929" name="fc" descr=" "/>
          <p:cNvSpPr txBox="1">
            <a:spLocks noChangeArrowheads="1"/>
          </p:cNvSpPr>
          <p:nvPr/>
        </p:nvSpPr>
        <p:spPr bwMode="auto">
          <a:xfrm>
            <a:off x="0" y="8740775"/>
            <a:ext cx="685800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altLang="en-US">
                <a:latin typeface="Calibri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84628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355600" rtl="0" fontAlgn="base">
      <a:spcBef>
        <a:spcPct val="30000"/>
      </a:spcBef>
      <a:spcAft>
        <a:spcPct val="0"/>
      </a:spcAft>
      <a:defRPr sz="500" kern="1200">
        <a:solidFill>
          <a:schemeClr val="tx1"/>
        </a:solidFill>
        <a:latin typeface="Helvetica" panose="020B0604020202020204" pitchFamily="34" charset="0"/>
        <a:ea typeface="+mn-ea"/>
        <a:cs typeface="+mn-cs"/>
      </a:defRPr>
    </a:lvl1pPr>
    <a:lvl2pPr marL="177800" algn="l" defTabSz="355600" rtl="0" fontAlgn="base">
      <a:spcBef>
        <a:spcPct val="30000"/>
      </a:spcBef>
      <a:spcAft>
        <a:spcPct val="0"/>
      </a:spcAft>
      <a:defRPr sz="500" kern="1200">
        <a:solidFill>
          <a:schemeClr val="tx1"/>
        </a:solidFill>
        <a:latin typeface="Helvetica" panose="020B0604020202020204" pitchFamily="34" charset="0"/>
        <a:ea typeface="+mn-ea"/>
        <a:cs typeface="+mn-cs"/>
      </a:defRPr>
    </a:lvl2pPr>
    <a:lvl3pPr marL="355600" algn="l" defTabSz="355600" rtl="0" fontAlgn="base">
      <a:spcBef>
        <a:spcPct val="30000"/>
      </a:spcBef>
      <a:spcAft>
        <a:spcPct val="0"/>
      </a:spcAft>
      <a:defRPr sz="500" kern="1200">
        <a:solidFill>
          <a:schemeClr val="tx1"/>
        </a:solidFill>
        <a:latin typeface="Helvetica" panose="020B0604020202020204" pitchFamily="34" charset="0"/>
        <a:ea typeface="+mn-ea"/>
        <a:cs typeface="+mn-cs"/>
      </a:defRPr>
    </a:lvl3pPr>
    <a:lvl4pPr marL="533400" algn="l" defTabSz="355600" rtl="0" fontAlgn="base">
      <a:spcBef>
        <a:spcPct val="30000"/>
      </a:spcBef>
      <a:spcAft>
        <a:spcPct val="0"/>
      </a:spcAft>
      <a:defRPr sz="500" kern="1200">
        <a:solidFill>
          <a:schemeClr val="tx1"/>
        </a:solidFill>
        <a:latin typeface="Helvetica" panose="020B0604020202020204" pitchFamily="34" charset="0"/>
        <a:ea typeface="+mn-ea"/>
        <a:cs typeface="+mn-cs"/>
      </a:defRPr>
    </a:lvl4pPr>
    <a:lvl5pPr marL="712788" algn="l" defTabSz="355600" rtl="0" fontAlgn="base">
      <a:spcBef>
        <a:spcPct val="30000"/>
      </a:spcBef>
      <a:spcAft>
        <a:spcPct val="0"/>
      </a:spcAft>
      <a:defRPr sz="500" kern="1200">
        <a:solidFill>
          <a:schemeClr val="tx1"/>
        </a:solidFill>
        <a:latin typeface="Helvetica" panose="020B0604020202020204" pitchFamily="34" charset="0"/>
        <a:ea typeface="+mn-ea"/>
        <a:cs typeface="+mn-cs"/>
      </a:defRPr>
    </a:lvl5pPr>
    <a:lvl6pPr marL="891540" algn="l" defTabSz="356616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6pPr>
    <a:lvl7pPr marL="1069848" algn="l" defTabSz="356616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7pPr>
    <a:lvl8pPr marL="1248156" algn="l" defTabSz="356616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8pPr>
    <a:lvl9pPr marL="1426464" algn="l" defTabSz="356616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41D4AA5-FE89-407B-8F77-FB697CBD9C37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0197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41D4AA5-FE89-407B-8F77-FB697CBD9C37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7703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5.jpeg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7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image" Target="../media/image5.jpeg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image" Target="../media/image4.emf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image" Target="../media/image7.emf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oleObject" Target="../embeddings/oleObject3.bin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slideMaster" Target="../slideMasters/slideMaster3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4" Type="http://schemas.openxmlformats.org/officeDocument/2006/relationships/image" Target="../media/image10.emf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140030"/>
            <a:ext cx="7585862" cy="5808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215" tIns="31107" rIns="62215" bIns="31107" anchor="ctr"/>
          <a:lstStyle/>
          <a:p>
            <a:pPr algn="ctr" defTabSz="713232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16" b="1">
              <a:solidFill>
                <a:schemeClr val="bg1"/>
              </a:solidFill>
            </a:endParaRPr>
          </a:p>
        </p:txBody>
      </p:sp>
      <p:pic>
        <p:nvPicPr>
          <p:cNvPr id="6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43" y="322504"/>
            <a:ext cx="6909758" cy="56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466725" y="4616450"/>
            <a:ext cx="1296988" cy="138113"/>
          </a:xfrm>
          <a:prstGeom prst="rect">
            <a:avLst/>
          </a:prstGeom>
        </p:spPr>
        <p:txBody>
          <a:bodyPr wrap="none" lIns="0" tIns="0" rIns="0" bIns="0"/>
          <a:lstStyle/>
          <a:p>
            <a:pPr defTabSz="685836" fontAlgn="auto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r>
              <a:rPr lang="en-US" sz="953">
                <a:latin typeface="+mn-lt"/>
                <a:cs typeface="Arial" panose="020B0604020202020204" pitchFamily="34" charset="0"/>
              </a:rPr>
              <a:t>Internal Use Only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94163" y="4754563"/>
            <a:ext cx="2509837" cy="260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215" tIns="31107" rIns="62215" bIns="31107" anchor="ctr"/>
          <a:lstStyle/>
          <a:p>
            <a:pPr algn="ctr" defTabSz="713232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16" b="1">
              <a:solidFill>
                <a:schemeClr val="bg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466725" y="1757674"/>
            <a:ext cx="6940797" cy="2098529"/>
          </a:xfrm>
          <a:prstGeom prst="rect">
            <a:avLst/>
          </a:prstGeom>
          <a:noFill/>
        </p:spPr>
        <p:txBody>
          <a:bodyPr tIns="0" anchorCtr="0"/>
          <a:lstStyle>
            <a:lvl1pPr algn="l">
              <a:lnSpc>
                <a:spcPct val="80000"/>
              </a:lnSpc>
              <a:defRPr sz="3200" b="1" i="0" cap="all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66726" y="3892454"/>
            <a:ext cx="6940797" cy="432048"/>
          </a:xfrm>
          <a:noFill/>
          <a:ln>
            <a:noFill/>
          </a:ln>
        </p:spPr>
        <p:txBody>
          <a:bodyPr tIns="144000" bIns="144000" anchor="t" anchorCtr="0"/>
          <a:lstStyle>
            <a:lvl1pPr marL="0" indent="0">
              <a:buNone/>
              <a:defRPr lang="en-US" sz="953" b="0" i="0" cap="none" smtClean="0">
                <a:solidFill>
                  <a:schemeClr val="tx1"/>
                </a:solidFill>
                <a:ea typeface="+mj-e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69440" y="4222066"/>
            <a:ext cx="6940797" cy="237653"/>
          </a:xfrm>
          <a:noFill/>
          <a:ln w="6350">
            <a:noFill/>
          </a:ln>
        </p:spPr>
        <p:txBody>
          <a:bodyPr anchor="b" anchorCtr="0"/>
          <a:lstStyle>
            <a:lvl1pPr marL="0" indent="0">
              <a:buNone/>
              <a:defRPr lang="en-GB" sz="953" b="0" i="0" cap="none" dirty="0">
                <a:solidFill>
                  <a:schemeClr val="tx1"/>
                </a:solidFill>
                <a:ea typeface="+mj-e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811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6" y="138254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83726" y="20542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6" y="27146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6" y="33750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6" y="403481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4" y="1393346"/>
            <a:ext cx="1486664" cy="661029"/>
          </a:xfrm>
          <a:solidFill>
            <a:srgbClr val="2983C5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4" y="2054224"/>
            <a:ext cx="1486664" cy="661029"/>
          </a:xfrm>
          <a:solidFill>
            <a:srgbClr val="1B59A4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4" y="2714625"/>
            <a:ext cx="1486664" cy="661029"/>
          </a:xfrm>
          <a:solidFill>
            <a:srgbClr val="074398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4" y="3375024"/>
            <a:ext cx="1486664" cy="661029"/>
          </a:xfrm>
          <a:solidFill>
            <a:srgbClr val="000E60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4" y="4034815"/>
            <a:ext cx="1486664" cy="661029"/>
          </a:xfrm>
          <a:solidFill>
            <a:srgbClr val="000D49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9D908177-49D1-4CA4-B496-83025D8D49F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2027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7" y="138254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16160" y="20542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7" y="27146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7" y="33750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7" y="403481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5" y="1393346"/>
            <a:ext cx="1486664" cy="661029"/>
          </a:xfrm>
          <a:solidFill>
            <a:srgbClr val="B9258B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5" y="2054224"/>
            <a:ext cx="1486664" cy="661029"/>
          </a:xfrm>
          <a:solidFill>
            <a:srgbClr val="A02078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5" y="2714625"/>
            <a:ext cx="1486664" cy="661029"/>
          </a:xfrm>
          <a:solidFill>
            <a:srgbClr val="8A1C69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5" y="3375024"/>
            <a:ext cx="1486664" cy="661029"/>
          </a:xfrm>
          <a:solidFill>
            <a:srgbClr val="69154F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5" y="4034815"/>
            <a:ext cx="1486664" cy="661029"/>
          </a:xfrm>
          <a:solidFill>
            <a:srgbClr val="460E35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B13B3284-69EA-4D17-9664-734A6C10335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240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7" y="138254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83727" y="20542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7" y="27146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7" y="33750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7" y="403481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5" y="1393346"/>
            <a:ext cx="1486664" cy="661029"/>
          </a:xfrm>
          <a:solidFill>
            <a:srgbClr val="ED7241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5" y="2054224"/>
            <a:ext cx="1486664" cy="661029"/>
          </a:xfrm>
          <a:solidFill>
            <a:srgbClr val="EB5E25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5" y="2714625"/>
            <a:ext cx="1486664" cy="661029"/>
          </a:xfrm>
          <a:solidFill>
            <a:srgbClr val="D74E14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5" y="3375024"/>
            <a:ext cx="1486664" cy="661029"/>
          </a:xfrm>
          <a:solidFill>
            <a:srgbClr val="B74011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5" y="4034815"/>
            <a:ext cx="1486664" cy="661029"/>
          </a:xfrm>
          <a:solidFill>
            <a:srgbClr val="8D320D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70E05466-71B1-4315-93A9-4BD469992FE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9108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7" y="138254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83727" y="20542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7" y="27146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7" y="3375024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7" y="403481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5" y="1393346"/>
            <a:ext cx="1486664" cy="661029"/>
          </a:xfrm>
          <a:solidFill>
            <a:schemeClr val="accent5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5" y="2054224"/>
            <a:ext cx="1486664" cy="661029"/>
          </a:xfrm>
          <a:solidFill>
            <a:schemeClr val="accent4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5" y="2714625"/>
            <a:ext cx="1486664" cy="661029"/>
          </a:xfrm>
          <a:solidFill>
            <a:schemeClr val="accent3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5" y="3375024"/>
            <a:ext cx="1486664" cy="661029"/>
          </a:xfrm>
          <a:solidFill>
            <a:schemeClr val="accent2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5" y="4034815"/>
            <a:ext cx="1486664" cy="661029"/>
          </a:xfrm>
          <a:solidFill>
            <a:schemeClr val="accent1"/>
          </a:solidFill>
        </p:spPr>
        <p:txBody>
          <a:bodyPr lIns="18000" rIns="18000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357" indent="0" algn="ctr">
              <a:buNone/>
              <a:defRPr sz="1089"/>
            </a:lvl2pPr>
            <a:lvl3pPr marL="254013" indent="0" algn="ctr">
              <a:buNone/>
              <a:defRPr sz="1089"/>
            </a:lvl3pPr>
            <a:lvl4pPr marL="374670" indent="0" algn="ctr">
              <a:buNone/>
              <a:defRPr sz="1089"/>
            </a:lvl4pPr>
            <a:lvl5pPr marL="495326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F70DC4A0-C1D9-44C6-8F28-BF7B4C7D106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15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B39D8F01-F5D1-4C66-B698-EE4F43898E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47400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41878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/>
          </p:nvPr>
        </p:nvSpPr>
        <p:spPr>
          <a:xfrm>
            <a:off x="461095" y="4380419"/>
            <a:ext cx="3331633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5"/>
          </p:nvPr>
        </p:nvSpPr>
        <p:spPr>
          <a:xfrm>
            <a:off x="4005003" y="4380419"/>
            <a:ext cx="3393016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6"/>
          </p:nvPr>
        </p:nvSpPr>
        <p:spPr>
          <a:xfrm>
            <a:off x="466682" y="1393824"/>
            <a:ext cx="3350683" cy="2986593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27"/>
          </p:nvPr>
        </p:nvSpPr>
        <p:spPr>
          <a:xfrm>
            <a:off x="4057920" y="1393824"/>
            <a:ext cx="3350683" cy="2986593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682" y="930353"/>
            <a:ext cx="6937751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28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A8A0007F-6161-45D7-92D6-10CB9ABA96C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77681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1294" cy="6272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/>
          </p:nvPr>
        </p:nvSpPr>
        <p:spPr>
          <a:xfrm>
            <a:off x="461138" y="1393825"/>
            <a:ext cx="3393016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5"/>
          </p:nvPr>
        </p:nvSpPr>
        <p:spPr>
          <a:xfrm>
            <a:off x="3994419" y="1393825"/>
            <a:ext cx="3393016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6"/>
          </p:nvPr>
        </p:nvSpPr>
        <p:spPr>
          <a:xfrm>
            <a:off x="461138" y="3027364"/>
            <a:ext cx="3356271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9"/>
          <p:cNvSpPr>
            <a:spLocks noGrp="1"/>
          </p:cNvSpPr>
          <p:nvPr>
            <p:ph type="body" sz="quarter" idx="29"/>
          </p:nvPr>
        </p:nvSpPr>
        <p:spPr>
          <a:xfrm>
            <a:off x="4047336" y="3027364"/>
            <a:ext cx="3340099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30"/>
          </p:nvPr>
        </p:nvSpPr>
        <p:spPr>
          <a:xfrm>
            <a:off x="466725" y="1577268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7"/>
          </p:nvPr>
        </p:nvSpPr>
        <p:spPr>
          <a:xfrm>
            <a:off x="4047336" y="1577268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11"/>
          <p:cNvSpPr>
            <a:spLocks noGrp="1"/>
          </p:cNvSpPr>
          <p:nvPr>
            <p:ph sz="quarter" idx="31"/>
          </p:nvPr>
        </p:nvSpPr>
        <p:spPr>
          <a:xfrm>
            <a:off x="466725" y="3219652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2"/>
          </p:nvPr>
        </p:nvSpPr>
        <p:spPr>
          <a:xfrm>
            <a:off x="4047336" y="3219652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6" y="930353"/>
            <a:ext cx="6937648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33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9E976415-A8C1-4FA9-AEB0-DDFDD3B6DB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2325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1294" cy="6243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/>
          </p:nvPr>
        </p:nvSpPr>
        <p:spPr>
          <a:xfrm>
            <a:off x="461137" y="1393825"/>
            <a:ext cx="2122034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27"/>
          </p:nvPr>
        </p:nvSpPr>
        <p:spPr>
          <a:xfrm>
            <a:off x="2893960" y="1393825"/>
            <a:ext cx="2122034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8"/>
          </p:nvPr>
        </p:nvSpPr>
        <p:spPr>
          <a:xfrm>
            <a:off x="5275985" y="1393825"/>
            <a:ext cx="2122034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816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3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11"/>
          <p:cNvSpPr>
            <a:spLocks noGrp="1"/>
          </p:cNvSpPr>
          <p:nvPr>
            <p:ph sz="quarter" idx="35"/>
          </p:nvPr>
        </p:nvSpPr>
        <p:spPr>
          <a:xfrm>
            <a:off x="466725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11"/>
          <p:cNvSpPr>
            <a:spLocks noGrp="1"/>
          </p:cNvSpPr>
          <p:nvPr>
            <p:ph sz="quarter" idx="36"/>
          </p:nvPr>
        </p:nvSpPr>
        <p:spPr>
          <a:xfrm>
            <a:off x="2888371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11"/>
          <p:cNvSpPr>
            <a:spLocks noGrp="1"/>
          </p:cNvSpPr>
          <p:nvPr>
            <p:ph sz="quarter" idx="37"/>
          </p:nvPr>
        </p:nvSpPr>
        <p:spPr>
          <a:xfrm>
            <a:off x="5275985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11"/>
          <p:cNvSpPr>
            <a:spLocks noGrp="1"/>
          </p:cNvSpPr>
          <p:nvPr>
            <p:ph sz="quarter" idx="38"/>
          </p:nvPr>
        </p:nvSpPr>
        <p:spPr>
          <a:xfrm>
            <a:off x="466725" y="268244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1"/>
          <p:cNvSpPr>
            <a:spLocks noGrp="1"/>
          </p:cNvSpPr>
          <p:nvPr>
            <p:ph sz="quarter" idx="39"/>
          </p:nvPr>
        </p:nvSpPr>
        <p:spPr>
          <a:xfrm>
            <a:off x="2888371" y="265165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11"/>
          <p:cNvSpPr>
            <a:spLocks noGrp="1"/>
          </p:cNvSpPr>
          <p:nvPr>
            <p:ph sz="quarter" idx="40"/>
          </p:nvPr>
        </p:nvSpPr>
        <p:spPr>
          <a:xfrm>
            <a:off x="5275985" y="265165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11"/>
          <p:cNvSpPr>
            <a:spLocks noGrp="1"/>
          </p:cNvSpPr>
          <p:nvPr>
            <p:ph sz="quarter" idx="41"/>
          </p:nvPr>
        </p:nvSpPr>
        <p:spPr>
          <a:xfrm>
            <a:off x="466725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Content Placeholder 11"/>
          <p:cNvSpPr>
            <a:spLocks noGrp="1"/>
          </p:cNvSpPr>
          <p:nvPr>
            <p:ph sz="quarter" idx="42"/>
          </p:nvPr>
        </p:nvSpPr>
        <p:spPr>
          <a:xfrm>
            <a:off x="2888371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11"/>
          <p:cNvSpPr>
            <a:spLocks noGrp="1"/>
          </p:cNvSpPr>
          <p:nvPr>
            <p:ph sz="quarter" idx="43"/>
          </p:nvPr>
        </p:nvSpPr>
        <p:spPr>
          <a:xfrm>
            <a:off x="5275985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6" y="930353"/>
            <a:ext cx="6937648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4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7DF4537E-B9CA-4E92-9600-A897193C712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4159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615113" y="1019175"/>
            <a:ext cx="1031875" cy="5191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215" tIns="31107" rIns="62215" bIns="31107" anchor="ctr"/>
          <a:lstStyle/>
          <a:p>
            <a:pPr algn="ctr" defTabSz="713232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16" b="1">
              <a:solidFill>
                <a:schemeClr val="bg1"/>
              </a:solidFill>
            </a:endParaRPr>
          </a:p>
        </p:txBody>
      </p:sp>
      <p:sp>
        <p:nvSpPr>
          <p:cNvPr id="6" name="Content Placeholder 11"/>
          <p:cNvSpPr>
            <a:spLocks noGrp="1"/>
          </p:cNvSpPr>
          <p:nvPr>
            <p:ph sz="quarter" idx="35"/>
          </p:nvPr>
        </p:nvSpPr>
        <p:spPr>
          <a:xfrm>
            <a:off x="0" y="0"/>
            <a:ext cx="7135985" cy="51435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5B7ADE21-9867-4B10-AE23-A2B9EA6DC1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3249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863600"/>
            <a:ext cx="755674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215" tIns="31107" rIns="62215" bIns="31107" anchor="ctr"/>
          <a:lstStyle/>
          <a:p>
            <a:pPr algn="ctr" defTabSz="713232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16" b="1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74650" y="1765300"/>
            <a:ext cx="4470400" cy="3937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685836" fontAlgn="auto">
              <a:lnSpc>
                <a:spcPct val="80000"/>
              </a:lnSpc>
              <a:spcAft>
                <a:spcPts val="408"/>
              </a:spcAft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r>
              <a:rPr lang="en-GB" sz="3200" b="1" cap="all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74722" y="3892454"/>
            <a:ext cx="7032801" cy="432048"/>
          </a:xfrm>
          <a:noFill/>
          <a:ln>
            <a:noFill/>
          </a:ln>
        </p:spPr>
        <p:txBody>
          <a:bodyPr tIns="144000" bIns="144000" anchor="t" anchorCtr="0"/>
          <a:lstStyle>
            <a:lvl1pPr marL="0" indent="0">
              <a:buNone/>
              <a:defRPr lang="en-US" sz="953" b="0" i="0" cap="none" smtClean="0">
                <a:solidFill>
                  <a:schemeClr val="tx1"/>
                </a:solidFill>
                <a:ea typeface="+mj-e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43" y="322504"/>
            <a:ext cx="6909758" cy="56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7799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43" y="322504"/>
            <a:ext cx="6909758" cy="56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1140030"/>
            <a:ext cx="7585862" cy="214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215" tIns="31107" rIns="62215" bIns="31107" anchor="ctr"/>
          <a:lstStyle/>
          <a:p>
            <a:pPr algn="ctr" defTabSz="713232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16" b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84" y="499444"/>
            <a:ext cx="6931293" cy="6670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466724" y="1662942"/>
            <a:ext cx="6931293" cy="3032883"/>
          </a:xfrm>
          <a:prstGeom prst="rect">
            <a:avLst/>
          </a:prstGeom>
        </p:spPr>
        <p:txBody>
          <a:bodyPr/>
          <a:lstStyle>
            <a:lvl1pPr marL="233309" indent="-233309">
              <a:spcAft>
                <a:spcPts val="1225"/>
              </a:spcAft>
              <a:buClr>
                <a:schemeClr val="accent1"/>
              </a:buClr>
              <a:buFont typeface="+mj-lt"/>
              <a:buAutoNum type="arabicPeriod"/>
              <a:defRPr sz="1050" b="0">
                <a:solidFill>
                  <a:schemeClr val="tx1"/>
                </a:solidFill>
              </a:defRPr>
            </a:lvl1pPr>
            <a:lvl2pPr marL="180984" indent="-171459">
              <a:spcAft>
                <a:spcPts val="1225"/>
              </a:spcAft>
              <a:buFont typeface="Arial" panose="020B0604020202020204" pitchFamily="34" charset="0"/>
              <a:buChar char="•"/>
              <a:defRPr sz="1050"/>
            </a:lvl2pPr>
            <a:lvl3pPr marL="361969" indent="-171459">
              <a:spcBef>
                <a:spcPts val="0"/>
              </a:spcBef>
              <a:spcAft>
                <a:spcPts val="1225"/>
              </a:spcAft>
              <a:buFont typeface="Arial" panose="020B0604020202020204" pitchFamily="34" charset="0"/>
              <a:buChar char="–"/>
              <a:defRPr sz="1050"/>
            </a:lvl3pPr>
            <a:lvl4pPr marL="542953" indent="-171459">
              <a:spcBef>
                <a:spcPts val="0"/>
              </a:spcBef>
              <a:spcAft>
                <a:spcPts val="1225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050">
                <a:latin typeface="+mj-lt"/>
              </a:defRPr>
            </a:lvl4pPr>
            <a:lvl5pPr marL="714412" indent="-171459">
              <a:spcBef>
                <a:spcPts val="0"/>
              </a:spcBef>
              <a:spcAft>
                <a:spcPts val="1225"/>
              </a:spcAft>
              <a:buClr>
                <a:schemeClr val="accent1"/>
              </a:buClr>
              <a:defRPr sz="1050">
                <a:latin typeface="+mj-lt"/>
              </a:defRPr>
            </a:lvl5pPr>
            <a:lvl6pPr marL="893810" indent="-180984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076381" indent="-182572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258954" indent="-179397"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237882-2B66-411B-BF63-358E678A50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8956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218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215" tIns="31107" rIns="62215" bIns="31107" anchor="ctr"/>
          <a:lstStyle/>
          <a:p>
            <a:pPr algn="ctr" defTabSz="713232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16" b="1">
              <a:solidFill>
                <a:schemeClr val="bg1"/>
              </a:solidFill>
            </a:endParaRPr>
          </a:p>
        </p:txBody>
      </p:sp>
      <p:pic>
        <p:nvPicPr>
          <p:cNvPr id="7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632" y="1588519"/>
            <a:ext cx="4070736" cy="1966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2394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140031"/>
            <a:ext cx="7585862" cy="5808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50" tIns="25274" rIns="50550" bIns="25274" anchor="ctr"/>
          <a:lstStyle/>
          <a:p>
            <a:pPr algn="ctr" defTabSz="579483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663" b="1">
              <a:solidFill>
                <a:schemeClr val="bg1"/>
              </a:solidFill>
            </a:endParaRPr>
          </a:p>
        </p:txBody>
      </p:sp>
      <p:pic>
        <p:nvPicPr>
          <p:cNvPr id="6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43" y="322505"/>
            <a:ext cx="6909758" cy="56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466725" y="4616451"/>
            <a:ext cx="1296988" cy="138113"/>
          </a:xfrm>
          <a:prstGeom prst="rect">
            <a:avLst/>
          </a:prstGeom>
        </p:spPr>
        <p:txBody>
          <a:bodyPr wrap="none" lIns="0" tIns="0" rIns="0" bIns="0"/>
          <a:lstStyle/>
          <a:p>
            <a:pPr defTabSz="557225" fontAlgn="auto">
              <a:lnSpc>
                <a:spcPct val="90000"/>
              </a:lnSpc>
              <a:spcBef>
                <a:spcPts val="609"/>
              </a:spcBef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r>
              <a:rPr lang="en-US" sz="774">
                <a:latin typeface="+mn-lt"/>
                <a:cs typeface="Arial" panose="020B0604020202020204" pitchFamily="34" charset="0"/>
              </a:rPr>
              <a:t>Internal Use Only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94164" y="4754564"/>
            <a:ext cx="2509837" cy="260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50" tIns="25274" rIns="50550" bIns="25274" anchor="ctr"/>
          <a:lstStyle/>
          <a:p>
            <a:pPr algn="ctr" defTabSz="579483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663" b="1">
              <a:solidFill>
                <a:schemeClr val="bg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466726" y="1757675"/>
            <a:ext cx="6940797" cy="2098529"/>
          </a:xfrm>
          <a:prstGeom prst="rect">
            <a:avLst/>
          </a:prstGeom>
          <a:noFill/>
        </p:spPr>
        <p:txBody>
          <a:bodyPr tIns="0" anchorCtr="0"/>
          <a:lstStyle>
            <a:lvl1pPr algn="l">
              <a:lnSpc>
                <a:spcPct val="80000"/>
              </a:lnSpc>
              <a:defRPr sz="2600" b="1" i="0" cap="all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66727" y="3892454"/>
            <a:ext cx="6940797" cy="432048"/>
          </a:xfrm>
          <a:noFill/>
          <a:ln>
            <a:noFill/>
          </a:ln>
        </p:spPr>
        <p:txBody>
          <a:bodyPr tIns="144000" bIns="144000" anchor="t" anchorCtr="0"/>
          <a:lstStyle>
            <a:lvl1pPr marL="0" indent="0">
              <a:buNone/>
              <a:defRPr lang="en-US" sz="774" b="0" i="0" cap="none" smtClean="0">
                <a:solidFill>
                  <a:schemeClr val="tx1"/>
                </a:solidFill>
                <a:ea typeface="+mj-e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69441" y="4222067"/>
            <a:ext cx="6940797" cy="237653"/>
          </a:xfrm>
          <a:noFill/>
          <a:ln w="6350">
            <a:noFill/>
          </a:ln>
        </p:spPr>
        <p:txBody>
          <a:bodyPr anchor="b" anchorCtr="0"/>
          <a:lstStyle>
            <a:lvl1pPr marL="0" indent="0">
              <a:buNone/>
              <a:defRPr lang="en-GB" sz="774" b="0" i="0" cap="none" dirty="0">
                <a:solidFill>
                  <a:schemeClr val="tx1"/>
                </a:solidFill>
                <a:ea typeface="+mj-e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79547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43" y="322505"/>
            <a:ext cx="6909758" cy="56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1140031"/>
            <a:ext cx="7585862" cy="214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50" tIns="25274" rIns="50550" bIns="25274" anchor="ctr"/>
          <a:lstStyle/>
          <a:p>
            <a:pPr algn="ctr" defTabSz="579483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663" b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985" y="499445"/>
            <a:ext cx="6931293" cy="6670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466725" y="1662943"/>
            <a:ext cx="6931293" cy="3032883"/>
          </a:xfrm>
          <a:prstGeom prst="rect">
            <a:avLst/>
          </a:prstGeom>
        </p:spPr>
        <p:txBody>
          <a:bodyPr/>
          <a:lstStyle>
            <a:lvl1pPr marL="189558" indent="-189558">
              <a:spcAft>
                <a:spcPts val="995"/>
              </a:spcAft>
              <a:buClr>
                <a:schemeClr val="accent1"/>
              </a:buClr>
              <a:buFont typeface="+mj-lt"/>
              <a:buAutoNum type="arabicPeriod"/>
              <a:defRPr sz="853" b="0">
                <a:solidFill>
                  <a:schemeClr val="tx1"/>
                </a:solidFill>
              </a:defRPr>
            </a:lvl1pPr>
            <a:lvl2pPr marL="147045" indent="-139307">
              <a:spcAft>
                <a:spcPts val="995"/>
              </a:spcAft>
              <a:buFont typeface="Arial" panose="020B0604020202020204" pitchFamily="34" charset="0"/>
              <a:buChar char="•"/>
              <a:defRPr sz="853"/>
            </a:lvl2pPr>
            <a:lvl3pPr marL="294091" indent="-139307">
              <a:spcBef>
                <a:spcPts val="0"/>
              </a:spcBef>
              <a:spcAft>
                <a:spcPts val="995"/>
              </a:spcAft>
              <a:buFont typeface="Arial" panose="020B0604020202020204" pitchFamily="34" charset="0"/>
              <a:buChar char="–"/>
              <a:defRPr sz="853"/>
            </a:lvl3pPr>
            <a:lvl4pPr marL="441136" indent="-139307">
              <a:spcBef>
                <a:spcPts val="0"/>
              </a:spcBef>
              <a:spcAft>
                <a:spcPts val="995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853">
                <a:latin typeface="+mj-lt"/>
              </a:defRPr>
            </a:lvl4pPr>
            <a:lvl5pPr marL="580442" indent="-139307">
              <a:spcBef>
                <a:spcPts val="0"/>
              </a:spcBef>
              <a:spcAft>
                <a:spcPts val="995"/>
              </a:spcAft>
              <a:buClr>
                <a:schemeClr val="accent1"/>
              </a:buClr>
              <a:defRPr sz="853">
                <a:latin typeface="+mj-lt"/>
              </a:defRPr>
            </a:lvl5pPr>
            <a:lvl6pPr marL="726198" indent="-14704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874533" indent="-14833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022869" indent="-145756"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237882-2B66-411B-BF63-358E678A50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7991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6723" y="1384301"/>
            <a:ext cx="6931295" cy="331152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63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53" b="0">
                <a:solidFill>
                  <a:schemeClr val="tx1"/>
                </a:solidFill>
              </a:defRPr>
            </a:lvl1pPr>
            <a:lvl2pPr marL="147045" indent="-139307">
              <a:spcAft>
                <a:spcPts val="663"/>
              </a:spcAft>
              <a:buFont typeface="Arial" panose="020B0604020202020204" pitchFamily="34" charset="0"/>
              <a:buChar char="•"/>
              <a:defRPr sz="853"/>
            </a:lvl2pPr>
            <a:lvl3pPr marL="294091" indent="-139307">
              <a:spcBef>
                <a:spcPts val="0"/>
              </a:spcBef>
              <a:spcAft>
                <a:spcPts val="663"/>
              </a:spcAft>
              <a:buFont typeface="Arial" panose="020B0604020202020204" pitchFamily="34" charset="0"/>
              <a:buChar char="–"/>
              <a:defRPr sz="853"/>
            </a:lvl3pPr>
            <a:lvl4pPr marL="441136" indent="-139307"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853">
                <a:latin typeface="+mj-lt"/>
              </a:defRPr>
            </a:lvl4pPr>
            <a:lvl5pPr marL="580442" indent="-139307"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853">
                <a:latin typeface="+mj-lt"/>
              </a:defRPr>
            </a:lvl5pPr>
            <a:lvl6pPr marL="726198" indent="-14704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874533" indent="-14833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022869" indent="-145756"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1293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4" y="930353"/>
            <a:ext cx="6937649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0B9B7069-A117-477F-9860-E1AF472A95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37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1296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6725" y="1388589"/>
            <a:ext cx="6931295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853"/>
            </a:lvl1pPr>
            <a:lvl2pPr>
              <a:spcAft>
                <a:spcPts val="663"/>
              </a:spcAft>
              <a:defRPr sz="853"/>
            </a:lvl2pPr>
            <a:lvl3pPr>
              <a:spcAft>
                <a:spcPts val="663"/>
              </a:spcAft>
              <a:defRPr sz="853"/>
            </a:lvl3pPr>
            <a:lvl4pPr>
              <a:spcAft>
                <a:spcPts val="663"/>
              </a:spcAft>
              <a:defRPr sz="853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853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6" y="930353"/>
            <a:ext cx="6937648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2A9ACBF4-760E-412E-93E2-CF3BFD2067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01767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7706" cy="61896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31293" y="1388589"/>
            <a:ext cx="3299499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853"/>
            </a:lvl1pPr>
            <a:lvl2pPr>
              <a:spcAft>
                <a:spcPts val="663"/>
              </a:spcAft>
              <a:defRPr sz="853"/>
            </a:lvl2pPr>
            <a:lvl3pPr>
              <a:spcAft>
                <a:spcPts val="663"/>
              </a:spcAft>
              <a:defRPr sz="853"/>
            </a:lvl3pPr>
            <a:lvl4pPr>
              <a:spcAft>
                <a:spcPts val="663"/>
              </a:spcAft>
              <a:defRPr sz="853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853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6"/>
          </p:nvPr>
        </p:nvSpPr>
        <p:spPr>
          <a:xfrm>
            <a:off x="4066387" y="1388589"/>
            <a:ext cx="3331633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853"/>
            </a:lvl1pPr>
            <a:lvl2pPr>
              <a:spcAft>
                <a:spcPts val="663"/>
              </a:spcAft>
              <a:defRPr sz="853"/>
            </a:lvl2pPr>
            <a:lvl3pPr>
              <a:spcAft>
                <a:spcPts val="663"/>
              </a:spcAft>
              <a:defRPr sz="853"/>
            </a:lvl3pPr>
            <a:lvl4pPr>
              <a:spcAft>
                <a:spcPts val="663"/>
              </a:spcAft>
              <a:defRPr sz="853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853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C3D84AD4-9A89-4911-AC99-4E467A46DB8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67950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7706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4"/>
          </p:nvPr>
        </p:nvSpPr>
        <p:spPr>
          <a:xfrm>
            <a:off x="461244" y="1393826"/>
            <a:ext cx="2160002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853"/>
            </a:lvl1pPr>
            <a:lvl2pPr>
              <a:spcAft>
                <a:spcPts val="663"/>
              </a:spcAft>
              <a:defRPr sz="853"/>
            </a:lvl2pPr>
            <a:lvl3pPr>
              <a:spcAft>
                <a:spcPts val="663"/>
              </a:spcAft>
              <a:defRPr sz="853"/>
            </a:lvl3pPr>
            <a:lvl4pPr>
              <a:spcAft>
                <a:spcPts val="663"/>
              </a:spcAft>
              <a:defRPr sz="853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853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7"/>
          </p:nvPr>
        </p:nvSpPr>
        <p:spPr>
          <a:xfrm>
            <a:off x="2849631" y="1393826"/>
            <a:ext cx="2160002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853"/>
            </a:lvl1pPr>
            <a:lvl2pPr>
              <a:spcAft>
                <a:spcPts val="663"/>
              </a:spcAft>
              <a:defRPr sz="853"/>
            </a:lvl2pPr>
            <a:lvl3pPr>
              <a:spcAft>
                <a:spcPts val="663"/>
              </a:spcAft>
              <a:defRPr sz="853"/>
            </a:lvl3pPr>
            <a:lvl4pPr>
              <a:spcAft>
                <a:spcPts val="663"/>
              </a:spcAft>
              <a:defRPr sz="853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853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8"/>
          </p:nvPr>
        </p:nvSpPr>
        <p:spPr>
          <a:xfrm>
            <a:off x="5238017" y="1393826"/>
            <a:ext cx="2160002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853"/>
            </a:lvl1pPr>
            <a:lvl2pPr>
              <a:spcAft>
                <a:spcPts val="663"/>
              </a:spcAft>
              <a:defRPr sz="853"/>
            </a:lvl2pPr>
            <a:lvl3pPr>
              <a:spcAft>
                <a:spcPts val="663"/>
              </a:spcAft>
              <a:defRPr sz="853"/>
            </a:lvl3pPr>
            <a:lvl4pPr>
              <a:spcAft>
                <a:spcPts val="663"/>
              </a:spcAft>
              <a:defRPr sz="853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853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5" y="930353"/>
            <a:ext cx="6937709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26D05AB2-ED27-44C2-A2B6-2D35CC06146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05216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6" y="305673"/>
            <a:ext cx="6937690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4"/>
          </p:nvPr>
        </p:nvSpPr>
        <p:spPr>
          <a:xfrm>
            <a:off x="466722" y="1388590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731"/>
            </a:lvl1pPr>
            <a:lvl2pPr>
              <a:spcAft>
                <a:spcPts val="663"/>
              </a:spcAft>
              <a:defRPr sz="731"/>
            </a:lvl2pPr>
            <a:lvl3pPr>
              <a:spcAft>
                <a:spcPts val="663"/>
              </a:spcAft>
              <a:defRPr sz="731"/>
            </a:lvl3pPr>
            <a:lvl4pPr>
              <a:spcAft>
                <a:spcPts val="663"/>
              </a:spcAft>
              <a:defRPr sz="731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731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6"/>
          </p:nvPr>
        </p:nvSpPr>
        <p:spPr>
          <a:xfrm>
            <a:off x="4043682" y="1388590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731"/>
            </a:lvl1pPr>
            <a:lvl2pPr>
              <a:spcAft>
                <a:spcPts val="663"/>
              </a:spcAft>
              <a:defRPr sz="731"/>
            </a:lvl2pPr>
            <a:lvl3pPr>
              <a:spcAft>
                <a:spcPts val="663"/>
              </a:spcAft>
              <a:defRPr sz="731"/>
            </a:lvl3pPr>
            <a:lvl4pPr>
              <a:spcAft>
                <a:spcPts val="663"/>
              </a:spcAft>
              <a:defRPr sz="731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731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8"/>
          </p:nvPr>
        </p:nvSpPr>
        <p:spPr>
          <a:xfrm>
            <a:off x="466722" y="3106895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731"/>
            </a:lvl1pPr>
            <a:lvl2pPr>
              <a:spcAft>
                <a:spcPts val="663"/>
              </a:spcAft>
              <a:defRPr sz="731"/>
            </a:lvl2pPr>
            <a:lvl3pPr>
              <a:spcAft>
                <a:spcPts val="663"/>
              </a:spcAft>
              <a:defRPr sz="731"/>
            </a:lvl3pPr>
            <a:lvl4pPr>
              <a:spcAft>
                <a:spcPts val="663"/>
              </a:spcAft>
              <a:defRPr sz="731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731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0"/>
          <p:cNvSpPr>
            <a:spLocks noGrp="1"/>
          </p:cNvSpPr>
          <p:nvPr>
            <p:ph sz="quarter" idx="19"/>
          </p:nvPr>
        </p:nvSpPr>
        <p:spPr>
          <a:xfrm>
            <a:off x="4043682" y="3106895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731"/>
            </a:lvl1pPr>
            <a:lvl2pPr>
              <a:spcAft>
                <a:spcPts val="663"/>
              </a:spcAft>
              <a:defRPr sz="731"/>
            </a:lvl2pPr>
            <a:lvl3pPr>
              <a:spcAft>
                <a:spcPts val="663"/>
              </a:spcAft>
              <a:defRPr sz="731"/>
            </a:lvl3pPr>
            <a:lvl4pPr>
              <a:spcAft>
                <a:spcPts val="663"/>
              </a:spcAft>
              <a:defRPr sz="731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731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3" y="930353"/>
            <a:ext cx="6937711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0095086C-F201-4F35-AF43-3C489368783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341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hird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7706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4"/>
          </p:nvPr>
        </p:nvSpPr>
        <p:spPr>
          <a:xfrm>
            <a:off x="466725" y="1393826"/>
            <a:ext cx="2092435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774"/>
            </a:lvl1pPr>
            <a:lvl2pPr>
              <a:spcAft>
                <a:spcPts val="663"/>
              </a:spcAft>
              <a:defRPr sz="774"/>
            </a:lvl2pPr>
            <a:lvl3pPr>
              <a:spcAft>
                <a:spcPts val="663"/>
              </a:spcAft>
              <a:defRPr sz="774"/>
            </a:lvl3pPr>
            <a:lvl4pPr>
              <a:spcAft>
                <a:spcPts val="663"/>
              </a:spcAft>
              <a:defRPr sz="774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774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7"/>
          </p:nvPr>
        </p:nvSpPr>
        <p:spPr>
          <a:xfrm>
            <a:off x="2773501" y="1393826"/>
            <a:ext cx="4630930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663"/>
              </a:spcAft>
              <a:defRPr sz="774"/>
            </a:lvl1pPr>
            <a:lvl2pPr>
              <a:spcAft>
                <a:spcPts val="663"/>
              </a:spcAft>
              <a:defRPr sz="774"/>
            </a:lvl2pPr>
            <a:lvl3pPr>
              <a:spcAft>
                <a:spcPts val="663"/>
              </a:spcAft>
              <a:defRPr sz="774"/>
            </a:lvl3pPr>
            <a:lvl4pPr>
              <a:spcAft>
                <a:spcPts val="663"/>
              </a:spcAft>
              <a:defRPr sz="774"/>
            </a:lvl4pPr>
            <a:lvl5pPr>
              <a:spcBef>
                <a:spcPts val="0"/>
              </a:spcBef>
              <a:spcAft>
                <a:spcPts val="663"/>
              </a:spcAft>
              <a:buClr>
                <a:schemeClr val="accent1"/>
              </a:buClr>
              <a:defRPr sz="774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6pPr>
            <a:lvl7pPr marL="1022869" indent="-145756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7pPr>
            <a:lvl8pPr marL="1167334" indent="-144465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2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988CC0A9-74F3-4D0A-AE20-085481DD9EC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82335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114" y="305674"/>
            <a:ext cx="6936316" cy="6246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68115" y="1848053"/>
            <a:ext cx="6929966" cy="967577"/>
          </a:xfrm>
          <a:prstGeom prst="rect">
            <a:avLst/>
          </a:prstGeom>
        </p:spPr>
        <p:txBody>
          <a:bodyPr anchor="b" anchorCtr="0"/>
          <a:lstStyle>
            <a:lvl1pPr marL="108350" indent="-108350">
              <a:spcAft>
                <a:spcPts val="975"/>
              </a:spcAft>
              <a:buNone/>
              <a:defRPr sz="1990" b="0" i="1" baseline="0">
                <a:solidFill>
                  <a:schemeClr val="accent3"/>
                </a:solidFill>
              </a:defRPr>
            </a:lvl1pPr>
            <a:lvl2pPr>
              <a:defRPr sz="975" b="1">
                <a:solidFill>
                  <a:schemeClr val="tx2"/>
                </a:solidFill>
              </a:defRPr>
            </a:lvl2pPr>
            <a:lvl3pPr marL="7740" indent="0">
              <a:buNone/>
              <a:defRPr sz="975" baseline="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681898" y="2898255"/>
            <a:ext cx="6722534" cy="179757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63"/>
              </a:spcAft>
              <a:buNone/>
              <a:defRPr sz="995" b="1" i="0" baseline="0">
                <a:solidFill>
                  <a:schemeClr val="tx2"/>
                </a:solidFill>
              </a:defRPr>
            </a:lvl1pPr>
            <a:lvl2pPr marL="0" indent="0">
              <a:spcAft>
                <a:spcPts val="663"/>
              </a:spcAft>
              <a:buNone/>
              <a:defRPr sz="995" b="0" baseline="0">
                <a:solidFill>
                  <a:schemeClr val="tx2"/>
                </a:solidFill>
              </a:defRPr>
            </a:lvl2pPr>
            <a:lvl3pPr marL="7740" indent="0">
              <a:buNone/>
              <a:defRPr sz="975" baseline="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8113" y="930353"/>
            <a:ext cx="6936321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646C6C36-4DCE-4C02-8330-1FD42AF7D1C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650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6722" y="1384300"/>
            <a:ext cx="6931295" cy="331152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816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b="0">
                <a:solidFill>
                  <a:schemeClr val="tx1"/>
                </a:solidFill>
              </a:defRPr>
            </a:lvl1pPr>
            <a:lvl2pPr marL="180984" indent="-171459">
              <a:spcAft>
                <a:spcPts val="816"/>
              </a:spcAft>
              <a:buFont typeface="Arial" panose="020B0604020202020204" pitchFamily="34" charset="0"/>
              <a:buChar char="•"/>
              <a:defRPr sz="1050"/>
            </a:lvl2pPr>
            <a:lvl3pPr marL="361969" indent="-171459">
              <a:spcBef>
                <a:spcPts val="0"/>
              </a:spcBef>
              <a:spcAft>
                <a:spcPts val="816"/>
              </a:spcAft>
              <a:buFont typeface="Arial" panose="020B0604020202020204" pitchFamily="34" charset="0"/>
              <a:buChar char="–"/>
              <a:defRPr sz="1050"/>
            </a:lvl3pPr>
            <a:lvl4pPr marL="542953" indent="-171459"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050">
                <a:latin typeface="+mj-lt"/>
              </a:defRPr>
            </a:lvl4pPr>
            <a:lvl5pPr marL="714412" indent="-171459"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1050">
                <a:latin typeface="+mj-lt"/>
              </a:defRPr>
            </a:lvl5pPr>
            <a:lvl6pPr marL="893810" indent="-180984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076381" indent="-182572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258954" indent="-179397"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6724" y="305672"/>
            <a:ext cx="6931293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4" y="930353"/>
            <a:ext cx="6937649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0B9B7069-A117-477F-9860-E1AF472A95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71479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7" y="138254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83727" y="20542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7" y="271462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7" y="33750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7" y="403481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6" y="305673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5" y="1393346"/>
            <a:ext cx="1486664" cy="661029"/>
          </a:xfrm>
          <a:solidFill>
            <a:srgbClr val="2983C5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5" y="2054225"/>
            <a:ext cx="1486664" cy="661029"/>
          </a:xfrm>
          <a:solidFill>
            <a:srgbClr val="1B59A4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5" y="2714626"/>
            <a:ext cx="1486664" cy="661029"/>
          </a:xfrm>
          <a:solidFill>
            <a:srgbClr val="074398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5" y="3375025"/>
            <a:ext cx="1486664" cy="661029"/>
          </a:xfrm>
          <a:solidFill>
            <a:srgbClr val="000E60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5" y="4034816"/>
            <a:ext cx="1486664" cy="661029"/>
          </a:xfrm>
          <a:solidFill>
            <a:srgbClr val="000D49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9D908177-49D1-4CA4-B496-83025D8D49F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31391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8" y="138254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16161" y="20542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8" y="271462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8" y="33750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8" y="403481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6" y="305673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6" y="1393346"/>
            <a:ext cx="1486664" cy="661029"/>
          </a:xfrm>
          <a:solidFill>
            <a:srgbClr val="B9258B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6" y="2054225"/>
            <a:ext cx="1486664" cy="661029"/>
          </a:xfrm>
          <a:solidFill>
            <a:srgbClr val="A02078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6" y="2714626"/>
            <a:ext cx="1486664" cy="661029"/>
          </a:xfrm>
          <a:solidFill>
            <a:srgbClr val="8A1C69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6" y="3375025"/>
            <a:ext cx="1486664" cy="661029"/>
          </a:xfrm>
          <a:solidFill>
            <a:srgbClr val="69154F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6" y="4034816"/>
            <a:ext cx="1486664" cy="661029"/>
          </a:xfrm>
          <a:solidFill>
            <a:srgbClr val="460E35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B13B3284-69EA-4D17-9664-734A6C10335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50740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8" y="138254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83728" y="20542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8" y="271462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8" y="33750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8" y="403481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6" y="305673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6" y="1393346"/>
            <a:ext cx="1486664" cy="661029"/>
          </a:xfrm>
          <a:solidFill>
            <a:srgbClr val="ED7241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6" y="2054225"/>
            <a:ext cx="1486664" cy="661029"/>
          </a:xfrm>
          <a:solidFill>
            <a:srgbClr val="EB5E25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6" y="2714626"/>
            <a:ext cx="1486664" cy="661029"/>
          </a:xfrm>
          <a:solidFill>
            <a:srgbClr val="D74E14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6" y="3375025"/>
            <a:ext cx="1486664" cy="661029"/>
          </a:xfrm>
          <a:solidFill>
            <a:srgbClr val="B74011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6" y="4034816"/>
            <a:ext cx="1486664" cy="661029"/>
          </a:xfrm>
          <a:solidFill>
            <a:srgbClr val="8D320D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70E05466-71B1-4315-93A9-4BD469992FE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1536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83728" y="138254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83728" y="20542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83728" y="271462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83728" y="33750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83728" y="403481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6" y="305673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466726" y="1393346"/>
            <a:ext cx="1486664" cy="661029"/>
          </a:xfrm>
          <a:solidFill>
            <a:schemeClr val="accent5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6726" y="2054225"/>
            <a:ext cx="1486664" cy="661029"/>
          </a:xfrm>
          <a:solidFill>
            <a:schemeClr val="accent4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6726" y="2714626"/>
            <a:ext cx="1486664" cy="661029"/>
          </a:xfrm>
          <a:solidFill>
            <a:schemeClr val="accent3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466726" y="3375025"/>
            <a:ext cx="1486664" cy="661029"/>
          </a:xfrm>
          <a:solidFill>
            <a:schemeClr val="accent2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66726" y="4034816"/>
            <a:ext cx="1486664" cy="661029"/>
          </a:xfrm>
          <a:solidFill>
            <a:schemeClr val="accent1"/>
          </a:solidFill>
        </p:spPr>
        <p:txBody>
          <a:bodyPr lIns="18000" rIns="18000" anchor="ctr"/>
          <a:lstStyle>
            <a:lvl1pPr marL="0" indent="0" algn="ctr">
              <a:buNone/>
              <a:defRPr sz="885" b="1">
                <a:solidFill>
                  <a:schemeClr val="bg1"/>
                </a:solidFill>
              </a:defRPr>
            </a:lvl1pPr>
            <a:lvl2pPr marL="108350" indent="0" algn="ctr">
              <a:buNone/>
              <a:defRPr sz="885"/>
            </a:lvl2pPr>
            <a:lvl3pPr marL="206379" indent="0" algn="ctr">
              <a:buNone/>
              <a:defRPr sz="885"/>
            </a:lvl3pPr>
            <a:lvl4pPr marL="304410" indent="0" algn="ctr">
              <a:buNone/>
              <a:defRPr sz="885"/>
            </a:lvl4pPr>
            <a:lvl5pPr marL="402440" indent="0" algn="ctr">
              <a:buNone/>
              <a:defRPr sz="885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F70DC4A0-C1D9-44C6-8F28-BF7B4C7D106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3667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6" y="305673"/>
            <a:ext cx="6937705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B39D8F01-F5D1-4C66-B698-EE4F43898E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5873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41878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/>
          </p:nvPr>
        </p:nvSpPr>
        <p:spPr>
          <a:xfrm>
            <a:off x="461096" y="4380420"/>
            <a:ext cx="3331633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5"/>
          </p:nvPr>
        </p:nvSpPr>
        <p:spPr>
          <a:xfrm>
            <a:off x="4005003" y="4380420"/>
            <a:ext cx="3393016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6"/>
          </p:nvPr>
        </p:nvSpPr>
        <p:spPr>
          <a:xfrm>
            <a:off x="466683" y="1393825"/>
            <a:ext cx="3350683" cy="2986593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27"/>
          </p:nvPr>
        </p:nvSpPr>
        <p:spPr>
          <a:xfrm>
            <a:off x="4057921" y="1393825"/>
            <a:ext cx="3350683" cy="2986593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683" y="930353"/>
            <a:ext cx="6937751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28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A8A0007F-6161-45D7-92D6-10CB9ABA96C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8123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1294" cy="6272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/>
          </p:nvPr>
        </p:nvSpPr>
        <p:spPr>
          <a:xfrm>
            <a:off x="461138" y="1393826"/>
            <a:ext cx="3393016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5"/>
          </p:nvPr>
        </p:nvSpPr>
        <p:spPr>
          <a:xfrm>
            <a:off x="3994419" y="1393826"/>
            <a:ext cx="3393016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6"/>
          </p:nvPr>
        </p:nvSpPr>
        <p:spPr>
          <a:xfrm>
            <a:off x="461139" y="3027365"/>
            <a:ext cx="3356271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9"/>
          <p:cNvSpPr>
            <a:spLocks noGrp="1"/>
          </p:cNvSpPr>
          <p:nvPr>
            <p:ph type="body" sz="quarter" idx="29"/>
          </p:nvPr>
        </p:nvSpPr>
        <p:spPr>
          <a:xfrm>
            <a:off x="4047337" y="3027365"/>
            <a:ext cx="3340099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30"/>
          </p:nvPr>
        </p:nvSpPr>
        <p:spPr>
          <a:xfrm>
            <a:off x="466726" y="1577269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7"/>
          </p:nvPr>
        </p:nvSpPr>
        <p:spPr>
          <a:xfrm>
            <a:off x="4047337" y="1577269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11"/>
          <p:cNvSpPr>
            <a:spLocks noGrp="1"/>
          </p:cNvSpPr>
          <p:nvPr>
            <p:ph sz="quarter" idx="31"/>
          </p:nvPr>
        </p:nvSpPr>
        <p:spPr>
          <a:xfrm>
            <a:off x="466726" y="3219652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2"/>
          </p:nvPr>
        </p:nvSpPr>
        <p:spPr>
          <a:xfrm>
            <a:off x="4047337" y="3219652"/>
            <a:ext cx="3350683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6" y="930353"/>
            <a:ext cx="6937648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33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9E976415-A8C1-4FA9-AEB0-DDFDD3B6DB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9549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1294" cy="6243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/>
          </p:nvPr>
        </p:nvSpPr>
        <p:spPr>
          <a:xfrm>
            <a:off x="461137" y="1393826"/>
            <a:ext cx="2122034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27"/>
          </p:nvPr>
        </p:nvSpPr>
        <p:spPr>
          <a:xfrm>
            <a:off x="2893960" y="1393826"/>
            <a:ext cx="2122034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8"/>
          </p:nvPr>
        </p:nvSpPr>
        <p:spPr>
          <a:xfrm>
            <a:off x="5275985" y="1393826"/>
            <a:ext cx="2122034" cy="183443"/>
          </a:xfrm>
          <a:prstGeom prst="rect">
            <a:avLst/>
          </a:prstGeom>
        </p:spPr>
        <p:txBody>
          <a:bodyPr tIns="36000" anchor="t"/>
          <a:lstStyle>
            <a:lvl1pPr marL="0" indent="0" algn="l">
              <a:buNone/>
              <a:defRPr sz="663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08655" indent="0">
              <a:buNone/>
              <a:defRPr sz="548" cap="all">
                <a:solidFill>
                  <a:srgbClr val="DE6421"/>
                </a:solidFill>
              </a:defRPr>
            </a:lvl2pPr>
            <a:lvl3pPr marL="257300" indent="0">
              <a:buNone/>
              <a:defRPr sz="548" cap="all">
                <a:solidFill>
                  <a:srgbClr val="DE6421"/>
                </a:solidFill>
              </a:defRPr>
            </a:lvl3pPr>
            <a:lvl4pPr marL="405945" indent="0">
              <a:buNone/>
              <a:defRPr sz="548" cap="all">
                <a:solidFill>
                  <a:srgbClr val="DE6421"/>
                </a:solidFill>
              </a:defRPr>
            </a:lvl4pPr>
            <a:lvl5pPr marL="531954" indent="0">
              <a:buNone/>
              <a:defRPr sz="548" cap="all">
                <a:solidFill>
                  <a:srgbClr val="DE642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11"/>
          <p:cNvSpPr>
            <a:spLocks noGrp="1"/>
          </p:cNvSpPr>
          <p:nvPr>
            <p:ph sz="quarter" idx="35"/>
          </p:nvPr>
        </p:nvSpPr>
        <p:spPr>
          <a:xfrm>
            <a:off x="466725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11"/>
          <p:cNvSpPr>
            <a:spLocks noGrp="1"/>
          </p:cNvSpPr>
          <p:nvPr>
            <p:ph sz="quarter" idx="36"/>
          </p:nvPr>
        </p:nvSpPr>
        <p:spPr>
          <a:xfrm>
            <a:off x="2888371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11"/>
          <p:cNvSpPr>
            <a:spLocks noGrp="1"/>
          </p:cNvSpPr>
          <p:nvPr>
            <p:ph sz="quarter" idx="37"/>
          </p:nvPr>
        </p:nvSpPr>
        <p:spPr>
          <a:xfrm>
            <a:off x="5275985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11"/>
          <p:cNvSpPr>
            <a:spLocks noGrp="1"/>
          </p:cNvSpPr>
          <p:nvPr>
            <p:ph sz="quarter" idx="38"/>
          </p:nvPr>
        </p:nvSpPr>
        <p:spPr>
          <a:xfrm>
            <a:off x="466725" y="268244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1"/>
          <p:cNvSpPr>
            <a:spLocks noGrp="1"/>
          </p:cNvSpPr>
          <p:nvPr>
            <p:ph sz="quarter" idx="39"/>
          </p:nvPr>
        </p:nvSpPr>
        <p:spPr>
          <a:xfrm>
            <a:off x="2888371" y="265165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11"/>
          <p:cNvSpPr>
            <a:spLocks noGrp="1"/>
          </p:cNvSpPr>
          <p:nvPr>
            <p:ph sz="quarter" idx="40"/>
          </p:nvPr>
        </p:nvSpPr>
        <p:spPr>
          <a:xfrm>
            <a:off x="5275985" y="265165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11"/>
          <p:cNvSpPr>
            <a:spLocks noGrp="1"/>
          </p:cNvSpPr>
          <p:nvPr>
            <p:ph sz="quarter" idx="41"/>
          </p:nvPr>
        </p:nvSpPr>
        <p:spPr>
          <a:xfrm>
            <a:off x="466725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Content Placeholder 11"/>
          <p:cNvSpPr>
            <a:spLocks noGrp="1"/>
          </p:cNvSpPr>
          <p:nvPr>
            <p:ph sz="quarter" idx="42"/>
          </p:nvPr>
        </p:nvSpPr>
        <p:spPr>
          <a:xfrm>
            <a:off x="2888371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11"/>
          <p:cNvSpPr>
            <a:spLocks noGrp="1"/>
          </p:cNvSpPr>
          <p:nvPr>
            <p:ph sz="quarter" idx="43"/>
          </p:nvPr>
        </p:nvSpPr>
        <p:spPr>
          <a:xfrm>
            <a:off x="5275985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6" y="930353"/>
            <a:ext cx="6937648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85" b="1"/>
            </a:lvl1pPr>
            <a:lvl2pPr marL="152205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4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7DF4537E-B9CA-4E92-9600-A897193C712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2150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615114" y="1019176"/>
            <a:ext cx="1031875" cy="5191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50" tIns="25274" rIns="50550" bIns="25274" anchor="ctr"/>
          <a:lstStyle/>
          <a:p>
            <a:pPr algn="ctr" defTabSz="579483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663" b="1">
              <a:solidFill>
                <a:schemeClr val="bg1"/>
              </a:solidFill>
            </a:endParaRPr>
          </a:p>
        </p:txBody>
      </p:sp>
      <p:sp>
        <p:nvSpPr>
          <p:cNvPr id="6" name="Content Placeholder 11"/>
          <p:cNvSpPr>
            <a:spLocks noGrp="1"/>
          </p:cNvSpPr>
          <p:nvPr>
            <p:ph sz="quarter" idx="35"/>
          </p:nvPr>
        </p:nvSpPr>
        <p:spPr>
          <a:xfrm>
            <a:off x="1" y="0"/>
            <a:ext cx="7135985" cy="51435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6"/>
          </p:nvPr>
        </p:nvSpPr>
        <p:spPr/>
        <p:txBody>
          <a:bodyPr>
            <a:noAutofit/>
          </a:bodyPr>
          <a:lstStyle>
            <a:lvl1pPr defTabSz="579483">
              <a:defRPr/>
            </a:lvl1pPr>
          </a:lstStyle>
          <a:p>
            <a:pPr>
              <a:defRPr/>
            </a:pPr>
            <a:fld id="{5B7ADE21-9867-4B10-AE23-A2B9EA6DC1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55651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863600"/>
            <a:ext cx="7556740" cy="857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50" tIns="25274" rIns="50550" bIns="25274" anchor="ctr"/>
          <a:lstStyle/>
          <a:p>
            <a:pPr algn="ctr" defTabSz="579483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663" b="1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74650" y="1765300"/>
            <a:ext cx="4470400" cy="3200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557225" fontAlgn="auto">
              <a:lnSpc>
                <a:spcPct val="80000"/>
              </a:lnSpc>
              <a:spcAft>
                <a:spcPts val="332"/>
              </a:spcAft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r>
              <a:rPr lang="en-GB" sz="2600" b="1" cap="all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74722" y="3892454"/>
            <a:ext cx="7032801" cy="432048"/>
          </a:xfrm>
          <a:noFill/>
          <a:ln>
            <a:noFill/>
          </a:ln>
        </p:spPr>
        <p:txBody>
          <a:bodyPr tIns="144000" bIns="144000" anchor="t" anchorCtr="0"/>
          <a:lstStyle>
            <a:lvl1pPr marL="0" indent="0">
              <a:buNone/>
              <a:defRPr lang="en-US" sz="774" b="0" i="0" cap="none" smtClean="0">
                <a:solidFill>
                  <a:schemeClr val="tx1"/>
                </a:solidFill>
                <a:ea typeface="+mj-e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43" y="322505"/>
            <a:ext cx="6909758" cy="56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3352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1296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6724" y="1388588"/>
            <a:ext cx="6931295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1050"/>
            </a:lvl1pPr>
            <a:lvl2pPr>
              <a:spcAft>
                <a:spcPts val="816"/>
              </a:spcAft>
              <a:defRPr sz="1050"/>
            </a:lvl2pPr>
            <a:lvl3pPr>
              <a:spcAft>
                <a:spcPts val="816"/>
              </a:spcAft>
              <a:defRPr sz="1050"/>
            </a:lvl3pPr>
            <a:lvl4pPr>
              <a:spcAft>
                <a:spcPts val="816"/>
              </a:spcAft>
              <a:defRPr sz="105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105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86" y="930353"/>
            <a:ext cx="6937648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2A9ACBF4-760E-412E-93E2-CF3BFD2067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51361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218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550" tIns="25274" rIns="50550" bIns="25274" anchor="ctr"/>
          <a:lstStyle/>
          <a:p>
            <a:pPr algn="ctr" defTabSz="579483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663" b="1">
              <a:solidFill>
                <a:schemeClr val="bg1"/>
              </a:solidFill>
            </a:endParaRPr>
          </a:p>
        </p:txBody>
      </p:sp>
      <p:pic>
        <p:nvPicPr>
          <p:cNvPr id="7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632" y="1588520"/>
            <a:ext cx="4070736" cy="1966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40362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706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1259" y="1269000"/>
            <a:ext cx="6819681" cy="340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select icon to insert image, graphic, table, chart, smart art or media 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59" y="714376"/>
            <a:ext cx="681113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853" b="1"/>
            </a:lvl1pPr>
            <a:lvl2pPr marL="152204" indent="0">
              <a:buNone/>
              <a:defRPr/>
            </a:lvl2pPr>
            <a:lvl3pPr marL="300540" indent="0">
              <a:buNone/>
              <a:defRPr/>
            </a:lvl3pPr>
            <a:lvl4pPr marL="442426" indent="0">
              <a:buNone/>
              <a:defRPr/>
            </a:lvl4pPr>
            <a:lvl5pPr marL="590762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47633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146539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9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3871" y="173831"/>
            <a:ext cx="828753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50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63872" y="292894"/>
            <a:ext cx="2237792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5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2/09/2013 17:09 GMT Standard Time</a:t>
            </a:r>
            <a:endParaRPr lang="en-US" sz="75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63873" y="413148"/>
            <a:ext cx="19716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5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0/09/2013 19:29 GMT Standard Time</a:t>
            </a:r>
            <a:endParaRPr lang="en-US" sz="75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>
            <p:custDataLst>
              <p:tags r:id="rId5"/>
            </p:custDataLst>
          </p:nvPr>
        </p:nvGrpSpPr>
        <p:grpSpPr bwMode="auto">
          <a:xfrm>
            <a:off x="1063876" y="3275448"/>
            <a:ext cx="5035063" cy="385710"/>
            <a:chOff x="1663" y="3100"/>
            <a:chExt cx="3109" cy="31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0"/>
              <a:ext cx="3109" cy="1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125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125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11" name="Picture 7" descr="LBG.png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8028843" y="52390"/>
            <a:ext cx="737088" cy="66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089536" y="38101"/>
            <a:ext cx="669681" cy="940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717646">
              <a:defRPr/>
            </a:pPr>
            <a:endParaRPr lang="en-US" sz="675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" name="Picture 3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385402" y="634605"/>
            <a:ext cx="7373816" cy="148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063216" y="1267712"/>
            <a:ext cx="6702881" cy="392415"/>
          </a:xfrm>
          <a:prstGeom prst="rect">
            <a:avLst/>
          </a:prstGeom>
        </p:spPr>
        <p:txBody>
          <a:bodyPr anchor="t"/>
          <a:lstStyle>
            <a:lvl1pPr>
              <a:defRPr sz="2550" b="1" baseline="0">
                <a:solidFill>
                  <a:schemeClr val="accent3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063216" y="2351973"/>
            <a:ext cx="6702881" cy="230833"/>
          </a:xfrm>
        </p:spPr>
        <p:txBody>
          <a:bodyPr/>
          <a:lstStyle>
            <a:lvl1pPr>
              <a:defRPr sz="15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12440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" y="18"/>
          <a:ext cx="162659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3" name="Object 2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8"/>
                        <a:ext cx="162659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rrowheads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385402" y="634605"/>
            <a:ext cx="7373816" cy="148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7089536" y="38101"/>
            <a:ext cx="669681" cy="940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717646">
              <a:defRPr/>
            </a:pPr>
            <a:endParaRPr lang="en-US" sz="675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8398947" y="1485222"/>
            <a:ext cx="1346522" cy="6925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>
                <a:solidFill>
                  <a:srgbClr val="000000"/>
                </a:solidFill>
                <a:latin typeface="Arial"/>
              </a:rPr>
              <a:t>Last Modified 12/09/2013 17:09 GMT Standard Time</a:t>
            </a: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479097" y="3149123"/>
            <a:ext cx="1186222" cy="6925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>
                <a:solidFill>
                  <a:srgbClr val="000000"/>
                </a:solidFill>
                <a:latin typeface="Arial"/>
              </a:rPr>
              <a:t>Printed 10/09/2013 19:29 GMT Standard Time</a:t>
            </a: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/>
        </p:nvSpPr>
        <p:spPr bwMode="auto">
          <a:xfrm>
            <a:off x="385397" y="20242"/>
            <a:ext cx="689291" cy="17312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25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385397" y="732252"/>
            <a:ext cx="5965580" cy="19620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5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0" name="McK Slide Elements" hidden="1"/>
          <p:cNvGrpSpPr>
            <a:grpSpLocks/>
          </p:cNvGrpSpPr>
          <p:nvPr/>
        </p:nvGrpSpPr>
        <p:grpSpPr bwMode="auto">
          <a:xfrm>
            <a:off x="385397" y="4708182"/>
            <a:ext cx="8251580" cy="317459"/>
            <a:chOff x="131612" y="6277989"/>
            <a:chExt cx="9083004" cy="422849"/>
          </a:xfrm>
        </p:grpSpPr>
        <p:sp>
          <p:nvSpPr>
            <p:cNvPr id="11" name="McK 4. Footnote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31612" y="6277989"/>
              <a:ext cx="9083004" cy="16910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106" indent="-88106">
                <a:defRPr/>
              </a:pPr>
              <a:r>
                <a:rPr lang="en-US" sz="825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31612" y="6531732"/>
              <a:ext cx="9083004" cy="16910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389335" indent="-389335" defTabSz="717646">
                <a:tabLst>
                  <a:tab pos="395288" algn="l"/>
                </a:tabLst>
                <a:defRPr/>
              </a:pPr>
              <a:r>
                <a:rPr lang="en-US" sz="825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1811217" y="1862038"/>
            <a:ext cx="4390292" cy="410866"/>
            <a:chOff x="915" y="692"/>
            <a:chExt cx="2686" cy="338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692"/>
              <a:ext cx="2686" cy="3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275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>
                <a:defRPr/>
              </a:pPr>
              <a:r>
                <a:rPr lang="en-US" sz="1275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16" name="Picture 7" descr="LBG.png"/>
          <p:cNvPicPr>
            <a:picLocks noChangeAspect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8028843" y="52390"/>
            <a:ext cx="737088" cy="66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LegendBoxes" hidden="1"/>
          <p:cNvGrpSpPr>
            <a:grpSpLocks/>
          </p:cNvGrpSpPr>
          <p:nvPr/>
        </p:nvGrpSpPr>
        <p:grpSpPr bwMode="auto">
          <a:xfrm>
            <a:off x="7932131" y="773906"/>
            <a:ext cx="619859" cy="747713"/>
            <a:chOff x="4936" y="176"/>
            <a:chExt cx="423" cy="628"/>
          </a:xfrm>
        </p:grpSpPr>
        <p:sp>
          <p:nvSpPr>
            <p:cNvPr id="1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6" name="LegendLines" hidden="1"/>
          <p:cNvGrpSpPr>
            <a:grpSpLocks/>
          </p:cNvGrpSpPr>
          <p:nvPr/>
        </p:nvGrpSpPr>
        <p:grpSpPr bwMode="auto">
          <a:xfrm>
            <a:off x="7647859" y="773907"/>
            <a:ext cx="904142" cy="547688"/>
            <a:chOff x="4750" y="176"/>
            <a:chExt cx="617" cy="460"/>
          </a:xfrm>
        </p:grpSpPr>
        <p:sp>
          <p:nvSpPr>
            <p:cNvPr id="2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3" name="McKSticker" hidden="1"/>
          <p:cNvGrpSpPr>
            <a:grpSpLocks/>
          </p:cNvGrpSpPr>
          <p:nvPr/>
        </p:nvGrpSpPr>
        <p:grpSpPr bwMode="auto">
          <a:xfrm>
            <a:off x="7652255" y="773924"/>
            <a:ext cx="984738" cy="166199"/>
            <a:chOff x="7673881" y="285750"/>
            <a:chExt cx="1066894" cy="221224"/>
          </a:xfrm>
        </p:grpSpPr>
        <p:sp>
          <p:nvSpPr>
            <p:cNvPr id="34" name="StickerRectangle"/>
            <p:cNvSpPr>
              <a:spLocks noChangeArrowheads="1"/>
            </p:cNvSpPr>
            <p:nvPr/>
          </p:nvSpPr>
          <p:spPr bwMode="auto">
            <a:xfrm>
              <a:off x="7863234" y="285750"/>
              <a:ext cx="877541" cy="2212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5" name="AutoShape 31"/>
            <p:cNvCxnSpPr>
              <a:cxnSpLocks noChangeShapeType="1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36" name="AutoShape 32"/>
            <p:cNvCxnSpPr>
              <a:cxnSpLocks noChangeShapeType="1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37" name="LegendMoons" hidden="1"/>
          <p:cNvGrpSpPr>
            <a:grpSpLocks/>
          </p:cNvGrpSpPr>
          <p:nvPr/>
        </p:nvGrpSpPr>
        <p:grpSpPr bwMode="auto">
          <a:xfrm>
            <a:off x="7870562" y="773924"/>
            <a:ext cx="680729" cy="979885"/>
            <a:chOff x="6655594" y="273840"/>
            <a:chExt cx="737600" cy="1306516"/>
          </a:xfrm>
        </p:grpSpPr>
        <p:grpSp>
          <p:nvGrpSpPr>
            <p:cNvPr id="38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6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9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0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0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6976332" y="286540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6976332" y="561179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6976332" y="835816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5" name="Legend4"/>
            <p:cNvSpPr>
              <a:spLocks noChangeArrowheads="1"/>
            </p:cNvSpPr>
            <p:nvPr/>
          </p:nvSpPr>
          <p:spPr bwMode="auto">
            <a:xfrm>
              <a:off x="6976332" y="1107280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6" name="Legend5"/>
            <p:cNvSpPr>
              <a:spLocks noChangeArrowheads="1"/>
            </p:cNvSpPr>
            <p:nvPr/>
          </p:nvSpPr>
          <p:spPr bwMode="auto">
            <a:xfrm>
              <a:off x="6976332" y="1383506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18393"/>
              <a:ext cx="209550" cy="209551"/>
              <a:chOff x="4495" y="1195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58" name="McK Moon" hidden="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870588" y="1891903"/>
            <a:ext cx="234463" cy="190500"/>
            <a:chOff x="1600" y="1600"/>
            <a:chExt cx="160" cy="160"/>
          </a:xfrm>
        </p:grpSpPr>
        <p:sp>
          <p:nvSpPr>
            <p:cNvPr id="59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7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0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75">
                <a:solidFill>
                  <a:srgbClr val="000000"/>
                </a:solidFill>
                <a:latin typeface="Arial"/>
              </a:endParaRPr>
            </a:p>
          </p:txBody>
        </p:sp>
      </p:grpSp>
      <p:graphicFrame>
        <p:nvGraphicFramePr>
          <p:cNvPr id="61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46539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61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9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3" name="Text Placeholder 9"/>
          <p:cNvSpPr txBox="1">
            <a:spLocks/>
          </p:cNvSpPr>
          <p:nvPr userDrawn="1"/>
        </p:nvSpPr>
        <p:spPr bwMode="auto">
          <a:xfrm>
            <a:off x="8621683" y="4962020"/>
            <a:ext cx="257171" cy="139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marL="190500" indent="-190500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  <a:defRPr sz="6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2500" indent="-1905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5100" indent="-1905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5638" indent="-1905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fld id="{3730987E-1F65-4289-A68A-C03C50A9C8F4}" type="slidenum">
              <a:rPr lang="en-US" sz="450" smtClean="0">
                <a:solidFill>
                  <a:srgbClr val="000000"/>
                </a:solidFill>
                <a:latin typeface="Arial" charset="0"/>
                <a:cs typeface="Arial" charset="0"/>
              </a:rPr>
              <a:pPr eaLnBrk="1" hangingPunct="1"/>
              <a:t>‹#›</a:t>
            </a:fld>
            <a:endParaRPr lang="en-US" sz="45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7387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046" y="299534"/>
            <a:ext cx="7520354" cy="323165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1260" y="1269001"/>
            <a:ext cx="7468793" cy="981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select icon to insert image, graphic, table, chart, smart art or media 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62987" y="4880342"/>
            <a:ext cx="2895600" cy="162000"/>
          </a:xfrm>
          <a:prstGeom prst="rect">
            <a:avLst/>
          </a:prstGeom>
        </p:spPr>
        <p:txBody>
          <a:bodyPr/>
          <a:lstStyle/>
          <a:p>
            <a:endParaRPr lang="en-GB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08308" y="4887000"/>
            <a:ext cx="664616" cy="162000"/>
          </a:xfrm>
          <a:prstGeom prst="rect">
            <a:avLst/>
          </a:prstGeom>
        </p:spPr>
        <p:txBody>
          <a:bodyPr/>
          <a:lstStyle/>
          <a:p>
            <a:fld id="{04A6DFD0-A633-4A6A-876A-343AA8592D07}" type="slidenum">
              <a:rPr lang="en-GB" sz="180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GB" sz="180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60" y="714377"/>
            <a:ext cx="7459429" cy="129266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91260" y="3031862"/>
            <a:ext cx="7468793" cy="981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select icon to insert image, graphic, table, chart, smart art or media 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9100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572840"/>
            <a:ext cx="7391400" cy="2308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86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108" y="966787"/>
            <a:ext cx="7391400" cy="981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9662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- With graphic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6"/>
          <p:cNvCxnSpPr/>
          <p:nvPr userDrawn="1"/>
        </p:nvCxnSpPr>
        <p:spPr>
          <a:xfrm flipH="1">
            <a:off x="8180388" y="4852988"/>
            <a:ext cx="609600" cy="0"/>
          </a:xfrm>
          <a:prstGeom prst="line">
            <a:avLst/>
          </a:prstGeom>
          <a:ln w="2032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466" y="1672519"/>
            <a:ext cx="7444519" cy="13854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850"/>
              </a:lnSpc>
              <a:spcBef>
                <a:spcPts val="0"/>
              </a:spcBef>
              <a:buNone/>
              <a:defRPr sz="2700" cap="all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705602" y="4981575"/>
            <a:ext cx="2016369" cy="128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6985D6A-8139-40FF-A0FD-4200992E7B88}" type="slidenum">
              <a:rPr lang="en-GB" sz="1800">
                <a:latin typeface="Arial"/>
              </a:rPr>
              <a:pPr>
                <a:defRPr/>
              </a:pPr>
              <a:t>‹#›</a:t>
            </a:fld>
            <a:endParaRPr lang="en-GB" sz="180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42931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21"/>
          </p:nvPr>
        </p:nvSpPr>
        <p:spPr>
          <a:xfrm>
            <a:off x="2016163" y="138254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2"/>
          </p:nvPr>
        </p:nvSpPr>
        <p:spPr>
          <a:xfrm>
            <a:off x="2016163" y="2054226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7"/>
          <p:cNvSpPr>
            <a:spLocks noGrp="1"/>
          </p:cNvSpPr>
          <p:nvPr>
            <p:ph type="body" sz="quarter" idx="23"/>
          </p:nvPr>
        </p:nvSpPr>
        <p:spPr>
          <a:xfrm>
            <a:off x="2016163" y="27146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2016163" y="3375025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27"/>
          <p:cNvSpPr>
            <a:spLocks noGrp="1"/>
          </p:cNvSpPr>
          <p:nvPr>
            <p:ph type="body" sz="quarter" idx="25"/>
          </p:nvPr>
        </p:nvSpPr>
        <p:spPr>
          <a:xfrm>
            <a:off x="2016163" y="4034819"/>
            <a:ext cx="5388269" cy="67183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175" y="305673"/>
            <a:ext cx="7005271" cy="6124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99158" y="930356"/>
            <a:ext cx="7005276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6983" indent="0">
              <a:buNone/>
              <a:defRPr/>
            </a:lvl2pPr>
            <a:lvl3pPr marL="369211" indent="0">
              <a:buNone/>
              <a:defRPr/>
            </a:lvl3pPr>
            <a:lvl4pPr marL="543518" indent="0">
              <a:buNone/>
              <a:defRPr/>
            </a:lvl4pPr>
            <a:lvl5pPr marL="72574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399160" y="1393359"/>
            <a:ext cx="1486664" cy="661030"/>
          </a:xfrm>
          <a:solidFill>
            <a:srgbClr val="2983C5"/>
          </a:solidFill>
        </p:spPr>
        <p:txBody>
          <a:bodyPr lIns="17965" rIns="17965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108" indent="0" algn="ctr">
              <a:buNone/>
              <a:defRPr sz="1089"/>
            </a:lvl2pPr>
            <a:lvl3pPr marL="253536" indent="0" algn="ctr">
              <a:buNone/>
              <a:defRPr sz="1089"/>
            </a:lvl3pPr>
            <a:lvl4pPr marL="373964" indent="0" algn="ctr">
              <a:buNone/>
              <a:defRPr sz="1089"/>
            </a:lvl4pPr>
            <a:lvl5pPr marL="494393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399160" y="2054236"/>
            <a:ext cx="1486664" cy="661030"/>
          </a:xfrm>
          <a:solidFill>
            <a:srgbClr val="1B59A4"/>
          </a:solidFill>
        </p:spPr>
        <p:txBody>
          <a:bodyPr lIns="17965" rIns="17965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108" indent="0" algn="ctr">
              <a:buNone/>
              <a:defRPr sz="1089"/>
            </a:lvl2pPr>
            <a:lvl3pPr marL="253536" indent="0" algn="ctr">
              <a:buNone/>
              <a:defRPr sz="1089"/>
            </a:lvl3pPr>
            <a:lvl4pPr marL="373964" indent="0" algn="ctr">
              <a:buNone/>
              <a:defRPr sz="1089"/>
            </a:lvl4pPr>
            <a:lvl5pPr marL="494393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399160" y="2714637"/>
            <a:ext cx="1486664" cy="661030"/>
          </a:xfrm>
          <a:solidFill>
            <a:srgbClr val="074398"/>
          </a:solidFill>
        </p:spPr>
        <p:txBody>
          <a:bodyPr lIns="17965" rIns="17965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108" indent="0" algn="ctr">
              <a:buNone/>
              <a:defRPr sz="1089"/>
            </a:lvl2pPr>
            <a:lvl3pPr marL="253536" indent="0" algn="ctr">
              <a:buNone/>
              <a:defRPr sz="1089"/>
            </a:lvl3pPr>
            <a:lvl4pPr marL="373964" indent="0" algn="ctr">
              <a:buNone/>
              <a:defRPr sz="1089"/>
            </a:lvl4pPr>
            <a:lvl5pPr marL="494393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399160" y="3375036"/>
            <a:ext cx="1486664" cy="661030"/>
          </a:xfrm>
          <a:solidFill>
            <a:srgbClr val="000E60"/>
          </a:solidFill>
        </p:spPr>
        <p:txBody>
          <a:bodyPr lIns="17965" rIns="17965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108" indent="0" algn="ctr">
              <a:buNone/>
              <a:defRPr sz="1089"/>
            </a:lvl2pPr>
            <a:lvl3pPr marL="253536" indent="0" algn="ctr">
              <a:buNone/>
              <a:defRPr sz="1089"/>
            </a:lvl3pPr>
            <a:lvl4pPr marL="373964" indent="0" algn="ctr">
              <a:buNone/>
              <a:defRPr sz="1089"/>
            </a:lvl4pPr>
            <a:lvl5pPr marL="494393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399160" y="4034827"/>
            <a:ext cx="1486664" cy="661030"/>
          </a:xfrm>
          <a:solidFill>
            <a:srgbClr val="000D49"/>
          </a:solidFill>
        </p:spPr>
        <p:txBody>
          <a:bodyPr lIns="17965" rIns="17965" anchor="ctr"/>
          <a:lstStyle>
            <a:lvl1pPr marL="0" indent="0" algn="ctr">
              <a:buNone/>
              <a:defRPr sz="1089" b="1">
                <a:solidFill>
                  <a:schemeClr val="bg1"/>
                </a:solidFill>
              </a:defRPr>
            </a:lvl1pPr>
            <a:lvl2pPr marL="133108" indent="0" algn="ctr">
              <a:buNone/>
              <a:defRPr sz="1089"/>
            </a:lvl2pPr>
            <a:lvl3pPr marL="253536" indent="0" algn="ctr">
              <a:buNone/>
              <a:defRPr sz="1089"/>
            </a:lvl3pPr>
            <a:lvl4pPr marL="373964" indent="0" algn="ctr">
              <a:buNone/>
              <a:defRPr sz="1089"/>
            </a:lvl4pPr>
            <a:lvl5pPr marL="494393" indent="0" algn="ctr">
              <a:buNone/>
              <a:defRPr sz="108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>
            <a:noAutofit/>
          </a:bodyPr>
          <a:lstStyle>
            <a:lvl1pPr defTabSz="620987">
              <a:defRPr/>
            </a:lvl1pPr>
          </a:lstStyle>
          <a:p>
            <a:pPr>
              <a:defRPr/>
            </a:pPr>
            <a:fld id="{9DFD51EA-C5CD-4486-BAF4-3FAB91B658E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18768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8769" y="1987835"/>
            <a:ext cx="7177847" cy="1080000"/>
          </a:xfrm>
        </p:spPr>
        <p:txBody>
          <a:bodyPr anchor="t" anchorCtr="0"/>
          <a:lstStyle>
            <a:lvl1pPr>
              <a:lnSpc>
                <a:spcPct val="85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8769" y="3228485"/>
            <a:ext cx="7177847" cy="1323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04A6DFD0-A633-4A6A-876A-343AA8592D07}" type="slidenum">
              <a:rPr lang="en-GB" sz="675" smtClean="0">
                <a:solidFill>
                  <a:srgbClr val="000000"/>
                </a:solidFill>
                <a:latin typeface="Arial"/>
                <a:cs typeface="+mn-cs"/>
              </a:rPr>
              <a:pPr defTabSz="685800">
                <a:defRPr/>
              </a:pPr>
              <a:t>‹#›</a:t>
            </a:fld>
            <a:endParaRPr lang="en-GB" sz="675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" name="Text Placeholder 11"/>
          <p:cNvSpPr txBox="1">
            <a:spLocks/>
          </p:cNvSpPr>
          <p:nvPr userDrawn="1"/>
        </p:nvSpPr>
        <p:spPr>
          <a:xfrm>
            <a:off x="419100" y="4880342"/>
            <a:ext cx="2847051" cy="162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80000" indent="-1800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None/>
              <a:defRPr sz="10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37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000" marR="0" lvl="0" indent="-135000" algn="l" defTabSz="6858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450"/>
              </a:spcAft>
              <a:buClr>
                <a:srgbClr val="00864F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</a:t>
            </a: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550" y="276734"/>
            <a:ext cx="2034308" cy="798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5216" y="4880342"/>
            <a:ext cx="4203371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en-US">
                <a:solidFill>
                  <a:srgbClr val="898989"/>
                </a:solidFill>
                <a:latin typeface="Arial"/>
                <a:cs typeface="+mn-cs"/>
              </a:rPr>
              <a:t>© 2018 Lloyds Banking Group plc and its subsidiaries </a:t>
            </a:r>
            <a:endParaRPr lang="en-GB">
              <a:solidFill>
                <a:srgbClr val="000000">
                  <a:tint val="75000"/>
                </a:srgbClr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0047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8769" y="1987835"/>
            <a:ext cx="7177847" cy="1080000"/>
          </a:xfrm>
        </p:spPr>
        <p:txBody>
          <a:bodyPr anchor="t" anchorCtr="0"/>
          <a:lstStyle>
            <a:lvl1pPr>
              <a:lnSpc>
                <a:spcPct val="85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8769" y="3228485"/>
            <a:ext cx="7177847" cy="1323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8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571" y="276734"/>
            <a:ext cx="2034308" cy="798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5220" y="4880342"/>
            <a:ext cx="4203371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59288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7706" cy="61896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31292" y="1388588"/>
            <a:ext cx="3299499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1050"/>
            </a:lvl1pPr>
            <a:lvl2pPr>
              <a:spcAft>
                <a:spcPts val="816"/>
              </a:spcAft>
              <a:defRPr sz="1050"/>
            </a:lvl2pPr>
            <a:lvl3pPr>
              <a:spcAft>
                <a:spcPts val="816"/>
              </a:spcAft>
              <a:defRPr sz="1050"/>
            </a:lvl3pPr>
            <a:lvl4pPr>
              <a:spcAft>
                <a:spcPts val="816"/>
              </a:spcAft>
              <a:defRPr sz="105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105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6"/>
          </p:nvPr>
        </p:nvSpPr>
        <p:spPr>
          <a:xfrm>
            <a:off x="4066386" y="1388588"/>
            <a:ext cx="3331633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1050"/>
            </a:lvl1pPr>
            <a:lvl2pPr>
              <a:spcAft>
                <a:spcPts val="816"/>
              </a:spcAft>
              <a:defRPr sz="1050"/>
            </a:lvl2pPr>
            <a:lvl3pPr>
              <a:spcAft>
                <a:spcPts val="816"/>
              </a:spcAft>
              <a:defRPr sz="1050"/>
            </a:lvl3pPr>
            <a:lvl4pPr>
              <a:spcAft>
                <a:spcPts val="816"/>
              </a:spcAft>
              <a:defRPr sz="105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105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C3D84AD4-9A89-4911-AC99-4E467A46DB8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2661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1259" y="1269000"/>
            <a:ext cx="6819681" cy="340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select icon to insert image, graphic, table, chart, smart art or media 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79" y="714375"/>
            <a:ext cx="681113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5220" y="4880342"/>
            <a:ext cx="4203371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795478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1263" y="1269002"/>
            <a:ext cx="6819031" cy="16437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select icon to insert image, graphic, table, chart, smart art or media 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69" y="714375"/>
            <a:ext cx="681048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91263" y="3031864"/>
            <a:ext cx="6819031" cy="16437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select icon to insert image, graphic, table, chart, smart art or media 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87530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0503" y="1267243"/>
            <a:ext cx="3334676" cy="3394472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33438" y="1267243"/>
            <a:ext cx="3176879" cy="3394472"/>
          </a:xfrm>
        </p:spPr>
        <p:txBody>
          <a:bodyPr/>
          <a:lstStyle>
            <a:lvl1pPr>
              <a:defRPr sz="1350" baseline="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58" y="714375"/>
            <a:ext cx="680497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2943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0508" y="1267238"/>
            <a:ext cx="3655385" cy="3402000"/>
          </a:xfrm>
        </p:spPr>
        <p:txBody>
          <a:bodyPr/>
          <a:lstStyle>
            <a:lvl1pPr marL="0" indent="0">
              <a:buNone/>
              <a:defRPr sz="1350"/>
            </a:lvl1pPr>
            <a:lvl2pPr marL="0" indent="0">
              <a:buNone/>
              <a:defRPr sz="1200"/>
            </a:lvl2pPr>
            <a:lvl3pPr marL="0" indent="0">
              <a:buNone/>
              <a:defRPr sz="1050"/>
            </a:lvl3pPr>
            <a:lvl4pPr marL="0" indent="0">
              <a:buNone/>
              <a:defRPr sz="1050"/>
            </a:lvl4pPr>
            <a:lvl5pPr marL="0" indent="0">
              <a:buNone/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62452" y="1267238"/>
            <a:ext cx="3482411" cy="3402000"/>
          </a:xfrm>
        </p:spPr>
        <p:txBody>
          <a:bodyPr/>
          <a:lstStyle>
            <a:lvl1pPr marL="0" indent="0">
              <a:buNone/>
              <a:defRPr sz="1350" baseline="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63" y="714375"/>
            <a:ext cx="7459429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202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36111" y="1267243"/>
            <a:ext cx="3174181" cy="3394472"/>
          </a:xfrm>
        </p:spPr>
        <p:txBody>
          <a:bodyPr/>
          <a:lstStyle>
            <a:lvl1pPr>
              <a:defRPr sz="1350" baseline="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19100" y="1272778"/>
            <a:ext cx="3372024" cy="2327672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9100" y="3809172"/>
            <a:ext cx="337202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19100" y="3950526"/>
            <a:ext cx="3372024" cy="722710"/>
          </a:xfrm>
        </p:spPr>
        <p:txBody>
          <a:bodyPr/>
          <a:lstStyle>
            <a:lvl1pPr>
              <a:buNone/>
              <a:defRPr sz="1050"/>
            </a:lvl1pPr>
            <a:lvl2pPr>
              <a:buFont typeface="Arial" pitchFamily="34" charset="0"/>
              <a:buChar char="•"/>
              <a:defRPr sz="900"/>
            </a:lvl2pPr>
            <a:lvl3pPr>
              <a:buFont typeface="Arial" pitchFamily="34" charset="0"/>
              <a:buChar char="•"/>
              <a:defRPr sz="825"/>
            </a:lvl3pPr>
            <a:lvl4pPr>
              <a:buFont typeface="Arial" pitchFamily="34" charset="0"/>
              <a:buChar char="•"/>
              <a:defRPr sz="825"/>
            </a:lvl4pPr>
            <a:lvl5pPr>
              <a:buFont typeface="Arial" pitchFamily="34" charset="0"/>
              <a:buChar char="•"/>
              <a:defRPr sz="82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99179" y="714375"/>
            <a:ext cx="681113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5220" y="4880342"/>
            <a:ext cx="4203371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28853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and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0507" y="1272781"/>
            <a:ext cx="3320551" cy="225329"/>
          </a:xfrm>
        </p:spPr>
        <p:txBody>
          <a:bodyPr tIns="0" anchor="t" anchorCtr="0"/>
          <a:lstStyle>
            <a:lvl1pPr marL="0" indent="0" algn="l">
              <a:buNone/>
              <a:defRPr sz="1350" b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0507" y="1631156"/>
            <a:ext cx="3320551" cy="30510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033417" y="1272781"/>
            <a:ext cx="3168872" cy="225329"/>
          </a:xfrm>
        </p:spPr>
        <p:txBody>
          <a:bodyPr tIns="0" anchor="t" anchorCtr="0"/>
          <a:lstStyle>
            <a:lvl1pPr marL="0" indent="0" algn="l">
              <a:buNone/>
              <a:defRPr sz="1350" b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033417" y="1631156"/>
            <a:ext cx="3168872" cy="30510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79" y="714375"/>
            <a:ext cx="681113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3655220" y="4880342"/>
            <a:ext cx="4203371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410275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9179" y="184552"/>
            <a:ext cx="6811131" cy="53459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3x column pag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1E705828-775D-4C2C-B343-34AFB1A6EF5A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4"/>
          </p:nvPr>
        </p:nvSpPr>
        <p:spPr>
          <a:xfrm>
            <a:off x="399160" y="1268374"/>
            <a:ext cx="2160002" cy="3407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1pPr>
            <a:lvl2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2pPr>
            <a:lvl3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3pPr>
            <a:lvl4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defRPr sz="900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6pPr>
            <a:lvl7pPr marL="1022900" indent="-145760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7pPr>
            <a:lvl8pPr marL="1167369" indent="-144470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7"/>
          </p:nvPr>
        </p:nvSpPr>
        <p:spPr>
          <a:xfrm>
            <a:off x="2818590" y="1268374"/>
            <a:ext cx="2160002" cy="3407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1pPr>
            <a:lvl2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2pPr>
            <a:lvl3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3pPr>
            <a:lvl4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defRPr sz="900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6pPr>
            <a:lvl7pPr marL="1022900" indent="-145760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7pPr>
            <a:lvl8pPr marL="1167369" indent="-144470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8"/>
          </p:nvPr>
        </p:nvSpPr>
        <p:spPr>
          <a:xfrm>
            <a:off x="5238016" y="1268374"/>
            <a:ext cx="2160002" cy="3407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1pPr>
            <a:lvl2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2pPr>
            <a:lvl3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3pPr>
            <a:lvl4pPr>
              <a:lnSpc>
                <a:spcPct val="100000"/>
              </a:lnSpc>
              <a:spcAft>
                <a:spcPts val="450"/>
              </a:spcAft>
              <a:defRPr sz="900">
                <a:latin typeface="+mj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defRPr sz="900">
                <a:latin typeface="+mj-lt"/>
              </a:defRPr>
            </a:lvl5pPr>
            <a:lvl6pPr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6pPr>
            <a:lvl7pPr marL="1022900" indent="-145760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7pPr>
            <a:lvl8pPr marL="1167369" indent="-144470"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defRPr sz="813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59" y="719140"/>
            <a:ext cx="6811135" cy="276109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50" b="1"/>
            </a:lvl1pPr>
            <a:lvl2pPr marL="152209" indent="0">
              <a:buNone/>
              <a:defRPr/>
            </a:lvl2pPr>
            <a:lvl3pPr marL="300549" indent="0">
              <a:buNone/>
              <a:defRPr/>
            </a:lvl3pPr>
            <a:lvl4pPr marL="442440" indent="0">
              <a:buNone/>
              <a:defRPr/>
            </a:lvl4pPr>
            <a:lvl5pPr marL="590780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81993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9100" y="2132409"/>
            <a:ext cx="7177847" cy="1350000"/>
          </a:xfrm>
        </p:spPr>
        <p:txBody>
          <a:bodyPr anchor="t"/>
          <a:lstStyle>
            <a:lvl1pPr algn="l">
              <a:lnSpc>
                <a:spcPct val="105000"/>
              </a:lnSpc>
              <a:defRPr sz="3000" b="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 all caps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4131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79" y="714375"/>
            <a:ext cx="681113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468113" y="1848052"/>
            <a:ext cx="6929967" cy="96757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133357" indent="-133357">
              <a:spcAft>
                <a:spcPts val="1200"/>
              </a:spcAft>
              <a:buNone/>
              <a:defRPr sz="2449" b="0" i="1" baseline="0">
                <a:solidFill>
                  <a:schemeClr val="accent3"/>
                </a:solidFill>
              </a:defRPr>
            </a:lvl1pPr>
            <a:lvl2pPr>
              <a:defRPr sz="1200" b="1">
                <a:solidFill>
                  <a:schemeClr val="tx2"/>
                </a:solidFill>
              </a:defRPr>
            </a:lvl2pPr>
            <a:lvl3pPr marL="9526" indent="0">
              <a:buNone/>
              <a:defRPr sz="1200" baseline="0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“Contains the quote text copy. </a:t>
            </a:r>
            <a:br>
              <a:rPr lang="en-GB"/>
            </a:br>
            <a:r>
              <a:rPr lang="en-GB"/>
              <a:t>Use this layout for quotes”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81900" y="2898254"/>
            <a:ext cx="6722534" cy="17975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817"/>
              </a:spcAft>
              <a:buNone/>
              <a:defRPr sz="1225" b="1" i="0" baseline="0">
                <a:solidFill>
                  <a:schemeClr val="tx2"/>
                </a:solidFill>
              </a:defRPr>
            </a:lvl1pPr>
            <a:lvl2pPr marL="0" indent="0">
              <a:spcAft>
                <a:spcPts val="817"/>
              </a:spcAft>
              <a:buNone/>
              <a:defRPr sz="1225" b="0" baseline="0">
                <a:solidFill>
                  <a:schemeClr val="tx2"/>
                </a:solidFill>
              </a:defRPr>
            </a:lvl2pPr>
            <a:lvl3pPr marL="9526" indent="0">
              <a:buNone/>
              <a:defRPr sz="1200" baseline="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First level in this box used for “First Name Last Name”</a:t>
            </a:r>
          </a:p>
          <a:p>
            <a:pPr lvl="1"/>
            <a:r>
              <a:rPr lang="en-US"/>
              <a:t>Second level is for “Job Title”</a:t>
            </a:r>
          </a:p>
        </p:txBody>
      </p:sp>
    </p:spTree>
    <p:extLst>
      <p:ext uri="{BB962C8B-B14F-4D97-AF65-F5344CB8AC3E}">
        <p14:creationId xmlns:p14="http://schemas.microsoft.com/office/powerpoint/2010/main" val="1864257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0508" y="1267238"/>
            <a:ext cx="3655385" cy="16470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62452" y="1267238"/>
            <a:ext cx="3482411" cy="1647000"/>
          </a:xfrm>
        </p:spPr>
        <p:txBody>
          <a:bodyPr/>
          <a:lstStyle>
            <a:lvl1pPr>
              <a:defRPr sz="1350" baseline="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962987" y="4880342"/>
            <a:ext cx="2895600" cy="162000"/>
          </a:xfrm>
        </p:spPr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19104" y="3018338"/>
            <a:ext cx="3655385" cy="16470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361049" y="3018338"/>
            <a:ext cx="3482411" cy="1647000"/>
          </a:xfrm>
        </p:spPr>
        <p:txBody>
          <a:bodyPr/>
          <a:lstStyle>
            <a:lvl1pPr>
              <a:defRPr sz="1350" baseline="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add text or select icon to insert the table, chart, image etc</a:t>
            </a:r>
            <a:endParaRPr lang="en-GB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99158" y="714375"/>
            <a:ext cx="6818284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5365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7706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4"/>
          </p:nvPr>
        </p:nvSpPr>
        <p:spPr>
          <a:xfrm>
            <a:off x="461244" y="1393825"/>
            <a:ext cx="2160002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1050"/>
            </a:lvl1pPr>
            <a:lvl2pPr>
              <a:spcAft>
                <a:spcPts val="816"/>
              </a:spcAft>
              <a:defRPr sz="1050"/>
            </a:lvl2pPr>
            <a:lvl3pPr>
              <a:spcAft>
                <a:spcPts val="816"/>
              </a:spcAft>
              <a:defRPr sz="1050"/>
            </a:lvl3pPr>
            <a:lvl4pPr>
              <a:spcAft>
                <a:spcPts val="816"/>
              </a:spcAft>
              <a:defRPr sz="105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105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7"/>
          </p:nvPr>
        </p:nvSpPr>
        <p:spPr>
          <a:xfrm>
            <a:off x="2849631" y="1393825"/>
            <a:ext cx="2160002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1050"/>
            </a:lvl1pPr>
            <a:lvl2pPr>
              <a:spcAft>
                <a:spcPts val="816"/>
              </a:spcAft>
              <a:defRPr sz="1050"/>
            </a:lvl2pPr>
            <a:lvl3pPr>
              <a:spcAft>
                <a:spcPts val="816"/>
              </a:spcAft>
              <a:defRPr sz="1050"/>
            </a:lvl3pPr>
            <a:lvl4pPr>
              <a:spcAft>
                <a:spcPts val="816"/>
              </a:spcAft>
              <a:defRPr sz="105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105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8"/>
          </p:nvPr>
        </p:nvSpPr>
        <p:spPr>
          <a:xfrm>
            <a:off x="5238017" y="1393825"/>
            <a:ext cx="2160002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1050"/>
            </a:lvl1pPr>
            <a:lvl2pPr>
              <a:spcAft>
                <a:spcPts val="816"/>
              </a:spcAft>
              <a:defRPr sz="1050"/>
            </a:lvl2pPr>
            <a:lvl3pPr>
              <a:spcAft>
                <a:spcPts val="816"/>
              </a:spcAft>
              <a:defRPr sz="1050"/>
            </a:lvl3pPr>
            <a:lvl4pPr>
              <a:spcAft>
                <a:spcPts val="816"/>
              </a:spcAft>
              <a:defRPr sz="105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105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09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26D05AB2-ED27-44C2-A2B6-2D35CC06146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36733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45386" y="1267995"/>
            <a:ext cx="5815385" cy="594000"/>
          </a:xfrm>
          <a:prstGeom prst="rect">
            <a:avLst/>
          </a:prstGeom>
        </p:spPr>
        <p:txBody>
          <a:bodyPr anchor="ctr" anchorCtr="0"/>
          <a:lstStyle>
            <a:lvl1pPr>
              <a:spcBef>
                <a:spcPts val="0"/>
              </a:spcBef>
              <a:spcAft>
                <a:spcPts val="450"/>
              </a:spcAft>
              <a:defRPr/>
            </a:lvl1pPr>
            <a:lvl2pPr marL="26789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200"/>
            </a:lvl2pPr>
            <a:lvl3pPr marL="404813" indent="-136922">
              <a:spcBef>
                <a:spcPts val="0"/>
              </a:spcBef>
              <a:spcAft>
                <a:spcPts val="450"/>
              </a:spcAft>
              <a:defRPr sz="1050"/>
            </a:lvl3pPr>
            <a:lvl4pPr marL="53578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4pPr>
            <a:lvl5pPr marL="673894" indent="-138113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1768-F321-4AAF-8AE0-C4CD1ECF097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94206" y="1007683"/>
            <a:ext cx="7434775" cy="0"/>
          </a:xfrm>
          <a:prstGeom prst="line">
            <a:avLst/>
          </a:prstGeom>
          <a:ln w="2032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H="1">
            <a:off x="8179729" y="4852583"/>
            <a:ext cx="609300" cy="0"/>
          </a:xfrm>
          <a:prstGeom prst="line">
            <a:avLst/>
          </a:prstGeom>
          <a:ln w="2032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2045839" y="2204832"/>
            <a:ext cx="5815385" cy="594000"/>
          </a:xfrm>
          <a:prstGeom prst="rect">
            <a:avLst/>
          </a:prstGeom>
        </p:spPr>
        <p:txBody>
          <a:bodyPr anchor="ctr" anchorCtr="0"/>
          <a:lstStyle>
            <a:lvl1pPr>
              <a:spcBef>
                <a:spcPts val="0"/>
              </a:spcBef>
              <a:spcAft>
                <a:spcPts val="450"/>
              </a:spcAft>
              <a:defRPr/>
            </a:lvl1pPr>
            <a:lvl2pPr marL="26789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200"/>
            </a:lvl2pPr>
            <a:lvl3pPr marL="404813" indent="-136922">
              <a:spcBef>
                <a:spcPts val="0"/>
              </a:spcBef>
              <a:spcAft>
                <a:spcPts val="450"/>
              </a:spcAft>
              <a:defRPr sz="1050"/>
            </a:lvl3pPr>
            <a:lvl4pPr marL="53578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4pPr>
            <a:lvl5pPr marL="673894" indent="-138113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2045386" y="3141669"/>
            <a:ext cx="5815385" cy="594000"/>
          </a:xfrm>
          <a:prstGeom prst="rect">
            <a:avLst/>
          </a:prstGeom>
        </p:spPr>
        <p:txBody>
          <a:bodyPr anchor="ctr" anchorCtr="0"/>
          <a:lstStyle>
            <a:lvl1pPr>
              <a:spcBef>
                <a:spcPts val="0"/>
              </a:spcBef>
              <a:spcAft>
                <a:spcPts val="450"/>
              </a:spcAft>
              <a:defRPr/>
            </a:lvl1pPr>
            <a:lvl2pPr marL="26789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200"/>
            </a:lvl2pPr>
            <a:lvl3pPr marL="404813" indent="-136922">
              <a:spcBef>
                <a:spcPts val="0"/>
              </a:spcBef>
              <a:spcAft>
                <a:spcPts val="450"/>
              </a:spcAft>
              <a:defRPr sz="1050"/>
            </a:lvl3pPr>
            <a:lvl4pPr marL="53578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4pPr>
            <a:lvl5pPr marL="673894" indent="-138113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2045839" y="4078505"/>
            <a:ext cx="5815385" cy="594000"/>
          </a:xfrm>
          <a:prstGeom prst="rect">
            <a:avLst/>
          </a:prstGeom>
        </p:spPr>
        <p:txBody>
          <a:bodyPr anchor="ctr" anchorCtr="0"/>
          <a:lstStyle>
            <a:lvl1pPr>
              <a:spcBef>
                <a:spcPts val="0"/>
              </a:spcBef>
              <a:spcAft>
                <a:spcPts val="450"/>
              </a:spcAft>
              <a:defRPr/>
            </a:lvl1pPr>
            <a:lvl2pPr marL="26789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200"/>
            </a:lvl2pPr>
            <a:lvl3pPr marL="404813" indent="-136922">
              <a:spcBef>
                <a:spcPts val="0"/>
              </a:spcBef>
              <a:spcAft>
                <a:spcPts val="450"/>
              </a:spcAft>
              <a:defRPr sz="1050"/>
            </a:lvl3pPr>
            <a:lvl4pPr marL="535781" indent="-13096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4pPr>
            <a:lvl5pPr marL="673894" indent="-138113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419104" y="1272779"/>
            <a:ext cx="1495385" cy="594000"/>
          </a:xfrm>
          <a:solidFill>
            <a:schemeClr val="accent1"/>
          </a:solidFill>
        </p:spPr>
        <p:txBody>
          <a:bodyPr lIns="72000" tIns="72000" rIns="72000" bIns="72000" anchor="ctr" anchorCtr="0"/>
          <a:lstStyle>
            <a:lvl1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19104" y="2208021"/>
            <a:ext cx="1495385" cy="594000"/>
          </a:xfrm>
          <a:solidFill>
            <a:schemeClr val="accent1"/>
          </a:solidFill>
        </p:spPr>
        <p:txBody>
          <a:bodyPr lIns="72000" tIns="72000" rIns="72000" bIns="72000" anchor="ctr" anchorCtr="0"/>
          <a:lstStyle>
            <a:lvl1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22" hasCustomPrompt="1"/>
          </p:nvPr>
        </p:nvSpPr>
        <p:spPr>
          <a:xfrm>
            <a:off x="419104" y="3143264"/>
            <a:ext cx="1495385" cy="594000"/>
          </a:xfrm>
          <a:solidFill>
            <a:schemeClr val="accent1"/>
          </a:solidFill>
        </p:spPr>
        <p:txBody>
          <a:bodyPr lIns="72000" tIns="72000" rIns="72000" bIns="72000" anchor="ctr" anchorCtr="0"/>
          <a:lstStyle>
            <a:lvl1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419104" y="4078505"/>
            <a:ext cx="1495385" cy="594000"/>
          </a:xfrm>
          <a:solidFill>
            <a:schemeClr val="accent1"/>
          </a:solidFill>
        </p:spPr>
        <p:txBody>
          <a:bodyPr lIns="72000" tIns="72000" rIns="72000" bIns="72000" anchor="ctr" anchorCtr="0"/>
          <a:lstStyle>
            <a:lvl1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4pPr>
            <a:lvl5pPr marL="0" indent="0" algn="ctr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79" y="714375"/>
            <a:ext cx="681113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1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962987" y="4880342"/>
            <a:ext cx="2895600" cy="162000"/>
          </a:xfrm>
        </p:spPr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41033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962987" y="4880342"/>
            <a:ext cx="2895600" cy="162000"/>
          </a:xfrm>
        </p:spPr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79" y="714375"/>
            <a:ext cx="6811131" cy="286545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02913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9672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9182" y="184552"/>
            <a:ext cx="6825435" cy="53459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4x images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1E705828-775D-4C2C-B343-34AFB1A6EF5A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399159" y="1393828"/>
            <a:ext cx="2122034" cy="183443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buNone/>
              <a:defRPr sz="817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4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r>
              <a:rPr lang="en-US"/>
              <a:t>Add image title</a:t>
            </a:r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27" hasCustomPrompt="1"/>
          </p:nvPr>
        </p:nvSpPr>
        <p:spPr>
          <a:xfrm>
            <a:off x="2843160" y="1393828"/>
            <a:ext cx="2122034" cy="183443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buNone/>
              <a:defRPr sz="817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4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r>
              <a:rPr lang="en-US"/>
              <a:t>Add image tit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8" hasCustomPrompt="1"/>
          </p:nvPr>
        </p:nvSpPr>
        <p:spPr>
          <a:xfrm>
            <a:off x="5275984" y="1393828"/>
            <a:ext cx="2122034" cy="183443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buNone/>
              <a:defRPr sz="817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4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r>
              <a:rPr lang="en-US"/>
              <a:t>Add image title</a:t>
            </a:r>
          </a:p>
        </p:txBody>
      </p:sp>
      <p:sp>
        <p:nvSpPr>
          <p:cNvPr id="27" name="Content Placeholder 11"/>
          <p:cNvSpPr>
            <a:spLocks noGrp="1"/>
          </p:cNvSpPr>
          <p:nvPr>
            <p:ph sz="quarter" idx="35" hasCustomPrompt="1"/>
          </p:nvPr>
        </p:nvSpPr>
        <p:spPr>
          <a:xfrm>
            <a:off x="404747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28" name="Content Placeholder 11"/>
          <p:cNvSpPr>
            <a:spLocks noGrp="1"/>
          </p:cNvSpPr>
          <p:nvPr>
            <p:ph sz="quarter" idx="36" hasCustomPrompt="1"/>
          </p:nvPr>
        </p:nvSpPr>
        <p:spPr>
          <a:xfrm>
            <a:off x="2837572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29" name="Content Placeholder 11"/>
          <p:cNvSpPr>
            <a:spLocks noGrp="1"/>
          </p:cNvSpPr>
          <p:nvPr>
            <p:ph sz="quarter" idx="37" hasCustomPrompt="1"/>
          </p:nvPr>
        </p:nvSpPr>
        <p:spPr>
          <a:xfrm>
            <a:off x="5275984" y="1577268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30" name="Content Placeholder 11"/>
          <p:cNvSpPr>
            <a:spLocks noGrp="1"/>
          </p:cNvSpPr>
          <p:nvPr>
            <p:ph sz="quarter" idx="38" hasCustomPrompt="1"/>
          </p:nvPr>
        </p:nvSpPr>
        <p:spPr>
          <a:xfrm>
            <a:off x="404747" y="268244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31" name="Content Placeholder 11"/>
          <p:cNvSpPr>
            <a:spLocks noGrp="1"/>
          </p:cNvSpPr>
          <p:nvPr>
            <p:ph sz="quarter" idx="39" hasCustomPrompt="1"/>
          </p:nvPr>
        </p:nvSpPr>
        <p:spPr>
          <a:xfrm>
            <a:off x="2837572" y="265165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32" name="Content Placeholder 11"/>
          <p:cNvSpPr>
            <a:spLocks noGrp="1"/>
          </p:cNvSpPr>
          <p:nvPr>
            <p:ph sz="quarter" idx="40" hasCustomPrompt="1"/>
          </p:nvPr>
        </p:nvSpPr>
        <p:spPr>
          <a:xfrm>
            <a:off x="5275984" y="2651654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33" name="Content Placeholder 11"/>
          <p:cNvSpPr>
            <a:spLocks noGrp="1"/>
          </p:cNvSpPr>
          <p:nvPr>
            <p:ph sz="quarter" idx="41" hasCustomPrompt="1"/>
          </p:nvPr>
        </p:nvSpPr>
        <p:spPr>
          <a:xfrm>
            <a:off x="404747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34" name="Content Placeholder 11"/>
          <p:cNvSpPr>
            <a:spLocks noGrp="1"/>
          </p:cNvSpPr>
          <p:nvPr>
            <p:ph sz="quarter" idx="42" hasCustomPrompt="1"/>
          </p:nvPr>
        </p:nvSpPr>
        <p:spPr>
          <a:xfrm>
            <a:off x="2837572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35" name="Content Placeholder 11"/>
          <p:cNvSpPr>
            <a:spLocks noGrp="1"/>
          </p:cNvSpPr>
          <p:nvPr>
            <p:ph sz="quarter" idx="43" hasCustomPrompt="1"/>
          </p:nvPr>
        </p:nvSpPr>
        <p:spPr>
          <a:xfrm>
            <a:off x="5275984" y="3726041"/>
            <a:ext cx="2122034" cy="954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59" y="719137"/>
            <a:ext cx="6818284" cy="284472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  <p:sp>
        <p:nvSpPr>
          <p:cNvPr id="18" name="Footer Placeholder 2"/>
          <p:cNvSpPr>
            <a:spLocks noGrp="1"/>
          </p:cNvSpPr>
          <p:nvPr>
            <p:ph type="ftr" sz="quarter" idx="44"/>
          </p:nvPr>
        </p:nvSpPr>
        <p:spPr>
          <a:xfrm>
            <a:off x="4962987" y="4880342"/>
            <a:ext cx="2895600" cy="162000"/>
          </a:xfrm>
        </p:spPr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45654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9160" y="189628"/>
            <a:ext cx="6818282" cy="53013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4x images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1E705828-775D-4C2C-B343-34AFB1A6EF5A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393575" y="1393828"/>
            <a:ext cx="3393016" cy="183443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buNone/>
              <a:defRPr sz="817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4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r>
              <a:rPr lang="en-US"/>
              <a:t>Add image title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5" hasCustomPrompt="1"/>
          </p:nvPr>
        </p:nvSpPr>
        <p:spPr>
          <a:xfrm>
            <a:off x="3994419" y="1393828"/>
            <a:ext cx="3393016" cy="183443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buNone/>
              <a:defRPr sz="817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4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r>
              <a:rPr lang="en-US"/>
              <a:t>Add image title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93572" y="3027367"/>
            <a:ext cx="3356271" cy="183443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buNone/>
              <a:defRPr sz="817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4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r>
              <a:rPr lang="en-US"/>
              <a:t>Add image title</a:t>
            </a:r>
          </a:p>
        </p:txBody>
      </p:sp>
      <p:sp>
        <p:nvSpPr>
          <p:cNvPr id="30" name="Text Placeholder 19"/>
          <p:cNvSpPr>
            <a:spLocks noGrp="1"/>
          </p:cNvSpPr>
          <p:nvPr>
            <p:ph type="body" sz="quarter" idx="29" hasCustomPrompt="1"/>
          </p:nvPr>
        </p:nvSpPr>
        <p:spPr>
          <a:xfrm>
            <a:off x="4047336" y="3027367"/>
            <a:ext cx="3340099" cy="183443"/>
          </a:xfrm>
          <a:prstGeom prst="rect">
            <a:avLst/>
          </a:prstGeom>
        </p:spPr>
        <p:txBody>
          <a:bodyPr lIns="0" tIns="36000" rIns="0" bIns="0" anchor="t">
            <a:noAutofit/>
          </a:bodyPr>
          <a:lstStyle>
            <a:lvl1pPr marL="0" indent="0" algn="l">
              <a:buNone/>
              <a:defRPr sz="817" b="0" cap="none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133733" indent="0">
              <a:buNone/>
              <a:defRPr sz="675" cap="all">
                <a:solidFill>
                  <a:srgbClr val="DE6421"/>
                </a:solidFill>
              </a:defRPr>
            </a:lvl2pPr>
            <a:lvl3pPr marL="316687" indent="0">
              <a:buNone/>
              <a:defRPr sz="675" cap="all">
                <a:solidFill>
                  <a:srgbClr val="DE6421"/>
                </a:solidFill>
              </a:defRPr>
            </a:lvl3pPr>
            <a:lvl4pPr marL="499640" indent="0">
              <a:buNone/>
              <a:defRPr sz="675" cap="all">
                <a:solidFill>
                  <a:srgbClr val="DE6421"/>
                </a:solidFill>
              </a:defRPr>
            </a:lvl4pPr>
            <a:lvl5pPr marL="654734" indent="0">
              <a:buNone/>
              <a:defRPr sz="675" cap="all">
                <a:solidFill>
                  <a:srgbClr val="DE6421"/>
                </a:solidFill>
              </a:defRPr>
            </a:lvl5pPr>
          </a:lstStyle>
          <a:p>
            <a:r>
              <a:rPr lang="en-US"/>
              <a:t>Add image title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30" hasCustomPrompt="1"/>
          </p:nvPr>
        </p:nvSpPr>
        <p:spPr>
          <a:xfrm>
            <a:off x="399171" y="1577269"/>
            <a:ext cx="3350684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7" hasCustomPrompt="1"/>
          </p:nvPr>
        </p:nvSpPr>
        <p:spPr>
          <a:xfrm>
            <a:off x="4047358" y="1577269"/>
            <a:ext cx="3350684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19" name="Content Placeholder 11"/>
          <p:cNvSpPr>
            <a:spLocks noGrp="1"/>
          </p:cNvSpPr>
          <p:nvPr>
            <p:ph sz="quarter" idx="31" hasCustomPrompt="1"/>
          </p:nvPr>
        </p:nvSpPr>
        <p:spPr>
          <a:xfrm>
            <a:off x="399171" y="3219652"/>
            <a:ext cx="3350684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32" hasCustomPrompt="1"/>
          </p:nvPr>
        </p:nvSpPr>
        <p:spPr>
          <a:xfrm>
            <a:off x="4047358" y="3219652"/>
            <a:ext cx="3350684" cy="145009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/>
              <a:t>Insert text, image or video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3"/>
          </p:nvPr>
        </p:nvSpPr>
        <p:spPr>
          <a:xfrm>
            <a:off x="4962987" y="4880342"/>
            <a:ext cx="2895600" cy="162000"/>
          </a:xfrm>
        </p:spPr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9162" y="719137"/>
            <a:ext cx="6824533" cy="284472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50" b="1"/>
            </a:lvl1pPr>
            <a:lvl2pPr marL="187334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7299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 with legal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962987" y="4880342"/>
            <a:ext cx="2895600" cy="162000"/>
          </a:xfrm>
        </p:spPr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4646810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">
                <a:solidFill>
                  <a:srgbClr val="000000"/>
                </a:solidFill>
                <a:ea typeface="ＭＳ Ｐゴシック" pitchFamily="-65" charset="-128"/>
              </a:rPr>
              <a:t>©  Lloyds Banking Group and its subsidiaries</a:t>
            </a:r>
            <a:endParaRPr lang="en-GB" sz="600">
              <a:solidFill>
                <a:srgbClr val="000000"/>
              </a:solidFill>
            </a:endParaRPr>
          </a:p>
        </p:txBody>
      </p:sp>
      <p:sp>
        <p:nvSpPr>
          <p:cNvPr id="8" name="Text Placeholder 11"/>
          <p:cNvSpPr txBox="1">
            <a:spLocks/>
          </p:cNvSpPr>
          <p:nvPr userDrawn="1"/>
        </p:nvSpPr>
        <p:spPr>
          <a:xfrm>
            <a:off x="419111" y="4880342"/>
            <a:ext cx="2847051" cy="162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180000" indent="-1800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None/>
              <a:defRPr sz="10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37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864F"/>
              </a:buClr>
            </a:pPr>
            <a:r>
              <a:rPr lang="en-US" sz="750">
                <a:solidFill>
                  <a:srgbClr val="FFFFFF">
                    <a:lumMod val="50000"/>
                  </a:srgbClr>
                </a:solidFill>
              </a:rPr>
              <a:t>Confidential</a:t>
            </a:r>
            <a:endParaRPr lang="en-GB" sz="75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7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199" y="1834327"/>
            <a:ext cx="3757603" cy="147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92506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86992" y="198471"/>
            <a:ext cx="6929965" cy="549274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/>
              <a:t>Blank slid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1E705828-775D-4C2C-B343-34AFB1A6EF5A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1686987" y="750972"/>
            <a:ext cx="6936316" cy="327660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b="1"/>
            </a:lvl1pPr>
            <a:lvl2pPr marL="196212" indent="0">
              <a:buNone/>
              <a:defRPr/>
            </a:lvl2pPr>
            <a:lvl3pPr marL="387440" indent="0">
              <a:buNone/>
              <a:defRPr/>
            </a:lvl3pPr>
            <a:lvl4pPr marL="570348" indent="0">
              <a:buNone/>
              <a:defRPr/>
            </a:lvl4pPr>
            <a:lvl5pPr marL="761570" indent="0">
              <a:buNone/>
              <a:defRPr/>
            </a:lvl5pPr>
          </a:lstStyle>
          <a:p>
            <a:pPr lvl="0"/>
            <a:r>
              <a:rPr lang="en-US"/>
              <a:t>Add a subhead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6683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layout with title and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4" y="1739504"/>
            <a:ext cx="4035425" cy="28515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750"/>
              </a:spcBef>
              <a:spcAft>
                <a:spcPts val="0"/>
              </a:spcAft>
              <a:defRPr sz="1050"/>
            </a:lvl1pPr>
            <a:lvl2pPr>
              <a:spcBef>
                <a:spcPts val="750"/>
              </a:spcBef>
              <a:spcAft>
                <a:spcPts val="300"/>
              </a:spcAft>
              <a:buClr>
                <a:schemeClr val="accent1"/>
              </a:buClr>
              <a:defRPr sz="1050"/>
            </a:lvl2pPr>
            <a:lvl3pPr>
              <a:spcBef>
                <a:spcPts val="750"/>
              </a:spcBef>
              <a:spcAft>
                <a:spcPts val="300"/>
              </a:spcAft>
              <a:buClr>
                <a:schemeClr val="accent1"/>
              </a:buClr>
              <a:defRPr sz="1050"/>
            </a:lvl3pPr>
            <a:lvl4pPr>
              <a:buClr>
                <a:schemeClr val="accent1"/>
              </a:buCl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39504"/>
            <a:ext cx="4038600" cy="28515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/>
            </a:lvl1pPr>
            <a:lvl2pPr>
              <a:buClr>
                <a:schemeClr val="accent1"/>
              </a:buClr>
              <a:defRPr sz="1050"/>
            </a:lvl2pPr>
            <a:lvl3pPr>
              <a:buClr>
                <a:schemeClr val="accent1"/>
              </a:buClr>
              <a:defRPr sz="1050"/>
            </a:lvl3pPr>
            <a:lvl4pPr>
              <a:buClr>
                <a:schemeClr val="accent1"/>
              </a:buClr>
              <a:defRPr sz="10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70"/>
            <a:ext cx="2133600" cy="273844"/>
          </a:xfrm>
          <a:prstGeom prst="rect">
            <a:avLst/>
          </a:prstGeom>
        </p:spPr>
        <p:txBody>
          <a:bodyPr/>
          <a:lstStyle/>
          <a:p>
            <a:fld id="{072DF64D-6665-4A2A-8E93-28775E05B54E}" type="slidenum">
              <a:rPr lang="en-GB" smtClean="0">
                <a:solidFill>
                  <a:srgbClr val="006A4D"/>
                </a:solidFill>
              </a:rPr>
              <a:pPr/>
              <a:t>‹#›</a:t>
            </a:fld>
            <a:endParaRPr lang="en-GB">
              <a:solidFill>
                <a:srgbClr val="006A4D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8138591" y="4840002"/>
            <a:ext cx="534928" cy="0"/>
          </a:xfrm>
          <a:prstGeom prst="line">
            <a:avLst/>
          </a:prstGeom>
          <a:ln w="2032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68313" y="789385"/>
            <a:ext cx="7416056" cy="323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38423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440540"/>
              </p:ext>
            </p:ext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71622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982679" y="303498"/>
            <a:ext cx="6593359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900679E8-31A4-42FA-A365-CF9FB6EB4AD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4E79D8-35BA-42A2-8651-20CA51776CB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70989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3"/>
            <a:ext cx="6937690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4"/>
          </p:nvPr>
        </p:nvSpPr>
        <p:spPr>
          <a:xfrm>
            <a:off x="466722" y="1388589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900"/>
            </a:lvl1pPr>
            <a:lvl2pPr>
              <a:spcAft>
                <a:spcPts val="816"/>
              </a:spcAft>
              <a:defRPr sz="900"/>
            </a:lvl2pPr>
            <a:lvl3pPr>
              <a:spcAft>
                <a:spcPts val="816"/>
              </a:spcAft>
              <a:defRPr sz="900"/>
            </a:lvl3pPr>
            <a:lvl4pPr>
              <a:spcAft>
                <a:spcPts val="816"/>
              </a:spcAft>
              <a:defRPr sz="90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90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6"/>
          </p:nvPr>
        </p:nvSpPr>
        <p:spPr>
          <a:xfrm>
            <a:off x="4043681" y="1388589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900"/>
            </a:lvl1pPr>
            <a:lvl2pPr>
              <a:spcAft>
                <a:spcPts val="816"/>
              </a:spcAft>
              <a:defRPr sz="900"/>
            </a:lvl2pPr>
            <a:lvl3pPr>
              <a:spcAft>
                <a:spcPts val="816"/>
              </a:spcAft>
              <a:defRPr sz="900"/>
            </a:lvl3pPr>
            <a:lvl4pPr>
              <a:spcAft>
                <a:spcPts val="816"/>
              </a:spcAft>
              <a:defRPr sz="90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90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8"/>
          </p:nvPr>
        </p:nvSpPr>
        <p:spPr>
          <a:xfrm>
            <a:off x="466722" y="3106895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900"/>
            </a:lvl1pPr>
            <a:lvl2pPr>
              <a:spcAft>
                <a:spcPts val="816"/>
              </a:spcAft>
              <a:defRPr sz="900"/>
            </a:lvl2pPr>
            <a:lvl3pPr>
              <a:spcAft>
                <a:spcPts val="816"/>
              </a:spcAft>
              <a:defRPr sz="900"/>
            </a:lvl3pPr>
            <a:lvl4pPr>
              <a:spcAft>
                <a:spcPts val="816"/>
              </a:spcAft>
              <a:defRPr sz="90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90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0"/>
          <p:cNvSpPr>
            <a:spLocks noGrp="1"/>
          </p:cNvSpPr>
          <p:nvPr>
            <p:ph sz="quarter" idx="19"/>
          </p:nvPr>
        </p:nvSpPr>
        <p:spPr>
          <a:xfrm>
            <a:off x="4043681" y="3106895"/>
            <a:ext cx="3360733" cy="1593759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900"/>
            </a:lvl1pPr>
            <a:lvl2pPr>
              <a:spcAft>
                <a:spcPts val="816"/>
              </a:spcAft>
              <a:defRPr sz="900"/>
            </a:lvl2pPr>
            <a:lvl3pPr>
              <a:spcAft>
                <a:spcPts val="816"/>
              </a:spcAft>
              <a:defRPr sz="900"/>
            </a:lvl3pPr>
            <a:lvl4pPr>
              <a:spcAft>
                <a:spcPts val="816"/>
              </a:spcAft>
              <a:defRPr sz="900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900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2" y="930353"/>
            <a:ext cx="6937711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0095086C-F201-4F35-AF43-3C489368783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2989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8DF1C4B5-C102-4822-89D7-BAD4B7F5BBF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E202D2-4FF4-41BF-BEC7-65302BC44C8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327751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>
            <a:extLst>
              <a:ext uri="{FF2B5EF4-FFF2-40B4-BE49-F238E27FC236}">
                <a16:creationId xmlns:a16="http://schemas.microsoft.com/office/drawing/2014/main" id="{E82E2C4F-E232-4160-9A7F-EB779077C7F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FA09A9-3FF3-44F0-A89B-33D38E84AD0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838231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hird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05672"/>
            <a:ext cx="6937706" cy="6124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4"/>
          </p:nvPr>
        </p:nvSpPr>
        <p:spPr>
          <a:xfrm>
            <a:off x="466724" y="1393825"/>
            <a:ext cx="2092435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953"/>
            </a:lvl1pPr>
            <a:lvl2pPr>
              <a:spcAft>
                <a:spcPts val="816"/>
              </a:spcAft>
              <a:defRPr sz="953"/>
            </a:lvl2pPr>
            <a:lvl3pPr>
              <a:spcAft>
                <a:spcPts val="816"/>
              </a:spcAft>
              <a:defRPr sz="953"/>
            </a:lvl3pPr>
            <a:lvl4pPr>
              <a:spcAft>
                <a:spcPts val="816"/>
              </a:spcAft>
              <a:defRPr sz="953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953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7"/>
          </p:nvPr>
        </p:nvSpPr>
        <p:spPr>
          <a:xfrm>
            <a:off x="2773500" y="1393825"/>
            <a:ext cx="4630930" cy="3307237"/>
          </a:xfrm>
          <a:prstGeom prst="rect">
            <a:avLst/>
          </a:prstGeom>
        </p:spPr>
        <p:txBody>
          <a:bodyPr/>
          <a:lstStyle>
            <a:lvl1pPr>
              <a:spcAft>
                <a:spcPts val="816"/>
              </a:spcAft>
              <a:defRPr sz="953"/>
            </a:lvl1pPr>
            <a:lvl2pPr>
              <a:spcAft>
                <a:spcPts val="816"/>
              </a:spcAft>
              <a:defRPr sz="953"/>
            </a:lvl2pPr>
            <a:lvl3pPr>
              <a:spcAft>
                <a:spcPts val="816"/>
              </a:spcAft>
              <a:defRPr sz="953"/>
            </a:lvl3pPr>
            <a:lvl4pPr>
              <a:spcAft>
                <a:spcPts val="816"/>
              </a:spcAft>
              <a:defRPr sz="953"/>
            </a:lvl4pPr>
            <a:lvl5pPr>
              <a:spcBef>
                <a:spcPts val="0"/>
              </a:spcBef>
              <a:spcAft>
                <a:spcPts val="816"/>
              </a:spcAft>
              <a:buClr>
                <a:schemeClr val="accent1"/>
              </a:buClr>
              <a:defRPr sz="953">
                <a:latin typeface="+mj-lt"/>
              </a:defRPr>
            </a:lvl5pPr>
            <a:lvl6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6pPr>
            <a:lvl7pPr marL="1258954" indent="-179397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7pPr>
            <a:lvl8pPr marL="1436763" indent="-177809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000">
                <a:latin typeface="+mj-lt"/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724" y="930353"/>
            <a:ext cx="6937710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988CC0A9-74F3-4D0A-AE20-085481DD9EC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98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114" y="305673"/>
            <a:ext cx="6936316" cy="62468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68114" y="1848052"/>
            <a:ext cx="6929966" cy="967577"/>
          </a:xfrm>
          <a:prstGeom prst="rect">
            <a:avLst/>
          </a:prstGeom>
        </p:spPr>
        <p:txBody>
          <a:bodyPr anchor="b" anchorCtr="0"/>
          <a:lstStyle>
            <a:lvl1pPr marL="133357" indent="-133357">
              <a:spcAft>
                <a:spcPts val="1200"/>
              </a:spcAft>
              <a:buNone/>
              <a:defRPr sz="2449" b="0" i="1" baseline="0">
                <a:solidFill>
                  <a:schemeClr val="accent3"/>
                </a:solidFill>
              </a:defRPr>
            </a:lvl1pPr>
            <a:lvl2pPr>
              <a:defRPr sz="1200" b="1">
                <a:solidFill>
                  <a:schemeClr val="tx2"/>
                </a:solidFill>
              </a:defRPr>
            </a:lvl2pPr>
            <a:lvl3pPr marL="9526" indent="0">
              <a:buNone/>
              <a:defRPr sz="1200" baseline="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681897" y="2898254"/>
            <a:ext cx="6722534" cy="1797571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816"/>
              </a:spcAft>
              <a:buNone/>
              <a:defRPr sz="1225" b="1" i="0" baseline="0">
                <a:solidFill>
                  <a:schemeClr val="tx2"/>
                </a:solidFill>
              </a:defRPr>
            </a:lvl1pPr>
            <a:lvl2pPr marL="0" indent="0">
              <a:spcAft>
                <a:spcPts val="816"/>
              </a:spcAft>
              <a:buNone/>
              <a:defRPr sz="1225" b="0" baseline="0">
                <a:solidFill>
                  <a:schemeClr val="tx2"/>
                </a:solidFill>
              </a:defRPr>
            </a:lvl2pPr>
            <a:lvl3pPr marL="9526" indent="0">
              <a:buNone/>
              <a:defRPr sz="1200" baseline="0"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8112" y="930353"/>
            <a:ext cx="6936321" cy="32766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89" b="1"/>
            </a:lvl1pPr>
            <a:lvl2pPr marL="187335" indent="0">
              <a:buNone/>
              <a:defRPr/>
            </a:lvl2pPr>
            <a:lvl3pPr marL="369907" indent="0">
              <a:buNone/>
              <a:defRPr/>
            </a:lvl3pPr>
            <a:lvl4pPr marL="544541" indent="0">
              <a:buNone/>
              <a:defRPr/>
            </a:lvl4pPr>
            <a:lvl5pPr marL="7271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 defTabSz="713232">
              <a:defRPr/>
            </a:lvl1pPr>
          </a:lstStyle>
          <a:p>
            <a:pPr>
              <a:defRPr/>
            </a:pPr>
            <a:fld id="{646C6C36-4DCE-4C02-8330-1FD42AF7D1C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3534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image" Target="../media/image4.emf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3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5358" y="4862513"/>
            <a:ext cx="392113" cy="179387"/>
          </a:xfrm>
          <a:prstGeom prst="rect">
            <a:avLst/>
          </a:prstGeom>
        </p:spPr>
        <p:txBody>
          <a:bodyPr vert="horz" lIns="0" tIns="0" rIns="36000" bIns="0" rtlCol="0" anchor="t"/>
          <a:lstStyle>
            <a:lvl1pPr algn="r" defTabSz="713269" fontAlgn="auto">
              <a:spcBef>
                <a:spcPts val="0"/>
              </a:spcBef>
              <a:spcAft>
                <a:spcPts val="0"/>
              </a:spcAft>
              <a:defRPr sz="600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FA5843-F729-49A2-BC5A-F9FA2206E1F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66725" y="320675"/>
            <a:ext cx="6931025" cy="550863"/>
          </a:xfrm>
          <a:prstGeom prst="rect">
            <a:avLst/>
          </a:prstGeom>
        </p:spPr>
        <p:txBody>
          <a:bodyPr vert="horz" lIns="0" tIns="28800" rIns="0" bIns="0" rtlCol="0" anchor="t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6725" y="1247775"/>
            <a:ext cx="6931025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/>
          <p:cNvSpPr>
            <a:spLocks noGrp="1"/>
          </p:cNvSpPr>
          <p:nvPr>
            <p:ph type="body" idx="1"/>
          </p:nvPr>
        </p:nvSpPr>
        <p:spPr>
          <a:xfrm>
            <a:off x="466725" y="1392238"/>
            <a:ext cx="693102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34" name="fc" descr=" "/>
          <p:cNvSpPr txBox="1">
            <a:spLocks noChangeArrowheads="1"/>
          </p:cNvSpPr>
          <p:nvPr userDrawn="1"/>
        </p:nvSpPr>
        <p:spPr bwMode="auto">
          <a:xfrm>
            <a:off x="0" y="4839719"/>
            <a:ext cx="914400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charset="0"/>
              <a:buNone/>
            </a:pPr>
            <a:r>
              <a:rPr lang="en-GB" altLang="en-US" sz="1000"/>
              <a:t> 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60825" y="4862513"/>
            <a:ext cx="2036135" cy="140359"/>
          </a:xfrm>
          <a:prstGeom prst="rect">
            <a:avLst/>
          </a:prstGeom>
        </p:spPr>
        <p:txBody>
          <a:bodyPr wrap="none" tIns="0">
            <a:spAutoFit/>
          </a:bodyPr>
          <a:lstStyle/>
          <a:p>
            <a:pPr defTabSz="71323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612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0 Lloyds Banking Group plc and its subsidiaries</a:t>
            </a:r>
          </a:p>
        </p:txBody>
      </p:sp>
      <p:sp>
        <p:nvSpPr>
          <p:cNvPr id="9" name="Text Placeholder 11"/>
          <p:cNvSpPr txBox="1">
            <a:spLocks/>
          </p:cNvSpPr>
          <p:nvPr userDrawn="1"/>
        </p:nvSpPr>
        <p:spPr>
          <a:xfrm>
            <a:off x="388938" y="4838700"/>
            <a:ext cx="2636837" cy="147638"/>
          </a:xfrm>
          <a:prstGeom prst="rect">
            <a:avLst/>
          </a:prstGeom>
        </p:spPr>
        <p:txBody>
          <a:bodyPr lIns="0" tIns="0" rIns="0" bIns="0" anchor="ctr"/>
          <a:lstStyle>
            <a:lvl1pPr marL="180000" indent="-1800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None/>
              <a:defRPr sz="10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37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r>
              <a:rPr lang="en-US" sz="612"/>
              <a:t>Confidential</a:t>
            </a:r>
            <a:endParaRPr lang="en-GB" sz="612"/>
          </a:p>
        </p:txBody>
      </p:sp>
      <p:sp>
        <p:nvSpPr>
          <p:cNvPr id="1033" name="hc" descr=" 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charset="0"/>
              <a:buNone/>
            </a:pPr>
            <a:r>
              <a:rPr lang="en-GB" altLang="en-US" sz="1000"/>
              <a:t> </a:t>
            </a:r>
          </a:p>
        </p:txBody>
      </p:sp>
      <p:pic>
        <p:nvPicPr>
          <p:cNvPr id="11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076" y="322504"/>
            <a:ext cx="1177395" cy="56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SIPCMContentMarking" descr="{&quot;HashCode&quot;:47140605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4850D3BB-27FE-4D90-A74C-3C6761DFB51E}"/>
              </a:ext>
            </a:extLst>
          </p:cNvPr>
          <p:cNvSpPr txBox="1"/>
          <p:nvPr userDrawn="1"/>
        </p:nvSpPr>
        <p:spPr>
          <a:xfrm>
            <a:off x="0" y="65163"/>
            <a:ext cx="1681718" cy="1661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MSIPCMContentMarking" descr="{&quot;HashCode&quot;:-153723364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9296C36C-F84A-4300-9D49-BFA58A7D2A77}"/>
              </a:ext>
            </a:extLst>
          </p:cNvPr>
          <p:cNvSpPr txBox="1"/>
          <p:nvPr userDrawn="1"/>
        </p:nvSpPr>
        <p:spPr>
          <a:xfrm>
            <a:off x="0" y="0"/>
            <a:ext cx="198078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GB" sz="1200">
                <a:solidFill>
                  <a:srgbClr val="FFA5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assification: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  <p:sldLayoutId id="2147483896" r:id="rId17"/>
    <p:sldLayoutId id="2147483897" r:id="rId18"/>
    <p:sldLayoutId id="2147483898" r:id="rId19"/>
    <p:sldLayoutId id="2147483899" r:id="rId20"/>
  </p:sldLayoutIdLst>
  <p:hf hdr="0" dt="0"/>
  <p:txStyles>
    <p:titleStyle>
      <a:lvl1pPr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lang="en-US" sz="2000" b="1" kern="1200" cap="all" dirty="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2pPr>
      <a:lvl3pPr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3pPr>
      <a:lvl4pPr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4pPr>
      <a:lvl5pPr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5pPr>
      <a:lvl6pPr marL="457200"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6pPr>
      <a:lvl7pPr marL="914400"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7pPr>
      <a:lvl8pPr marL="1371600"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8pPr>
      <a:lvl9pPr marL="1828800" algn="l" defTabSz="685800" rtl="0" fontAlgn="base">
        <a:lnSpc>
          <a:spcPct val="75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33350" indent="-133350" algn="l" defTabSz="685800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lang="en-US"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54000" indent="-120650" algn="l" defTabSz="685800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–"/>
        <a:defRPr lang="en-US"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81000" indent="-127000" algn="l" defTabSz="685800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lang="en-US"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95300" indent="-120650" algn="l" defTabSz="685800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lang="en-US"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15950" indent="-120650" algn="l" defTabSz="685800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lang="en-US" sz="11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36638" marR="0" indent="-120656" algn="l" defTabSz="685836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Tx/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863645" indent="-133357" algn="l" defTabSz="68583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>
          <a:tab pos="2241666" algn="l"/>
        </a:tabLst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863645" indent="-127007" algn="l" defTabSz="68583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42" indent="0" algn="l" defTabSz="68583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6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3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71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9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7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5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42" algn="l" defTabSz="68583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5359" y="4862514"/>
            <a:ext cx="392113" cy="179387"/>
          </a:xfrm>
          <a:prstGeom prst="rect">
            <a:avLst/>
          </a:prstGeom>
        </p:spPr>
        <p:txBody>
          <a:bodyPr vert="horz" lIns="0" tIns="0" rIns="36000" bIns="0" rtlCol="0" anchor="t"/>
          <a:lstStyle>
            <a:lvl1pPr algn="r" defTabSz="579513" fontAlgn="auto">
              <a:spcBef>
                <a:spcPts val="0"/>
              </a:spcBef>
              <a:spcAft>
                <a:spcPts val="0"/>
              </a:spcAft>
              <a:defRPr sz="488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FA5843-F729-49A2-BC5A-F9FA2206E1F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66726" y="320675"/>
            <a:ext cx="6931025" cy="550863"/>
          </a:xfrm>
          <a:prstGeom prst="rect">
            <a:avLst/>
          </a:prstGeom>
        </p:spPr>
        <p:txBody>
          <a:bodyPr vert="horz" lIns="0" tIns="28800" rIns="0" bIns="0" rtlCol="0" anchor="t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6726" y="1247775"/>
            <a:ext cx="6931025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/>
          <p:cNvSpPr>
            <a:spLocks noGrp="1"/>
          </p:cNvSpPr>
          <p:nvPr>
            <p:ph type="body" idx="1"/>
          </p:nvPr>
        </p:nvSpPr>
        <p:spPr>
          <a:xfrm>
            <a:off x="466726" y="1392239"/>
            <a:ext cx="693102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34" name="fc" descr=" "/>
          <p:cNvSpPr txBox="1">
            <a:spLocks noChangeArrowheads="1"/>
          </p:cNvSpPr>
          <p:nvPr userDrawn="1"/>
        </p:nvSpPr>
        <p:spPr bwMode="auto">
          <a:xfrm>
            <a:off x="0" y="4839721"/>
            <a:ext cx="9144000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Aft>
                <a:spcPts val="488"/>
              </a:spcAft>
              <a:buClr>
                <a:schemeClr val="accent1"/>
              </a:buClr>
              <a:buFont typeface="Arial" charset="0"/>
              <a:buNone/>
            </a:pPr>
            <a:r>
              <a:rPr lang="en-GB" altLang="en-US" sz="812"/>
              <a:t> 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60826" y="4862513"/>
            <a:ext cx="1693092" cy="122662"/>
          </a:xfrm>
          <a:prstGeom prst="rect">
            <a:avLst/>
          </a:prstGeom>
        </p:spPr>
        <p:txBody>
          <a:bodyPr wrap="none" tIns="0">
            <a:spAutoFit/>
          </a:bodyPr>
          <a:lstStyle/>
          <a:p>
            <a:pPr defTabSz="5794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97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0 Lloyds Banking Group plc and its subsidiaries</a:t>
            </a:r>
          </a:p>
        </p:txBody>
      </p:sp>
      <p:sp>
        <p:nvSpPr>
          <p:cNvPr id="9" name="Text Placeholder 11"/>
          <p:cNvSpPr txBox="1">
            <a:spLocks/>
          </p:cNvSpPr>
          <p:nvPr userDrawn="1"/>
        </p:nvSpPr>
        <p:spPr>
          <a:xfrm>
            <a:off x="388939" y="4838701"/>
            <a:ext cx="2636837" cy="147638"/>
          </a:xfrm>
          <a:prstGeom prst="rect">
            <a:avLst/>
          </a:prstGeom>
        </p:spPr>
        <p:txBody>
          <a:bodyPr lIns="0" tIns="0" rIns="0" bIns="0" anchor="ctr"/>
          <a:lstStyle>
            <a:lvl1pPr marL="180000" indent="-1800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None/>
              <a:defRPr sz="10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37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r>
              <a:rPr lang="en-US" sz="497"/>
              <a:t>Confidential</a:t>
            </a:r>
            <a:endParaRPr lang="en-GB" sz="497"/>
          </a:p>
        </p:txBody>
      </p:sp>
      <p:sp>
        <p:nvSpPr>
          <p:cNvPr id="1033" name="hc" descr=" "/>
          <p:cNvSpPr txBox="1">
            <a:spLocks noChangeArrowheads="1"/>
          </p:cNvSpPr>
          <p:nvPr userDrawn="1"/>
        </p:nvSpPr>
        <p:spPr bwMode="auto">
          <a:xfrm>
            <a:off x="0" y="1"/>
            <a:ext cx="9144000" cy="11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1278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Aft>
                <a:spcPts val="488"/>
              </a:spcAft>
              <a:buClr>
                <a:schemeClr val="accent1"/>
              </a:buClr>
              <a:buFont typeface="Arial" charset="0"/>
              <a:buNone/>
            </a:pPr>
            <a:r>
              <a:rPr lang="en-GB" altLang="en-US" sz="812"/>
              <a:t> </a:t>
            </a:r>
          </a:p>
        </p:txBody>
      </p:sp>
      <p:pic>
        <p:nvPicPr>
          <p:cNvPr id="11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077" y="322505"/>
            <a:ext cx="1177395" cy="56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SIPCMContentMarking" descr="{&quot;HashCode&quot;:47140605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4850D3BB-27FE-4D90-A74C-3C6761DFB51E}"/>
              </a:ext>
            </a:extLst>
          </p:cNvPr>
          <p:cNvSpPr txBox="1"/>
          <p:nvPr userDrawn="1"/>
        </p:nvSpPr>
        <p:spPr>
          <a:xfrm>
            <a:off x="0" y="65163"/>
            <a:ext cx="1681718" cy="1661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MSIPCMContentMarking" descr="{&quot;HashCode&quot;:-153723364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9296C36C-F84A-4300-9D49-BFA58A7D2A77}"/>
              </a:ext>
            </a:extLst>
          </p:cNvPr>
          <p:cNvSpPr txBox="1"/>
          <p:nvPr userDrawn="1"/>
        </p:nvSpPr>
        <p:spPr>
          <a:xfrm>
            <a:off x="0" y="0"/>
            <a:ext cx="198078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GB" sz="1200">
                <a:solidFill>
                  <a:srgbClr val="FFA5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assification: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3196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6" r:id="rId13"/>
    <p:sldLayoutId id="2147483927" r:id="rId14"/>
    <p:sldLayoutId id="2147483928" r:id="rId15"/>
    <p:sldLayoutId id="2147483929" r:id="rId16"/>
    <p:sldLayoutId id="2147483930" r:id="rId17"/>
    <p:sldLayoutId id="2147483931" r:id="rId18"/>
    <p:sldLayoutId id="2147483932" r:id="rId19"/>
    <p:sldLayoutId id="2147483933" r:id="rId20"/>
    <p:sldLayoutId id="2147483934" r:id="rId21"/>
  </p:sldLayoutIdLst>
  <p:hf hdr="0" dt="0"/>
  <p:txStyles>
    <p:titleStyle>
      <a:lvl1pPr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lang="en-US" sz="1625" b="1" kern="1200" cap="all" dirty="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2pPr>
      <a:lvl3pPr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3pPr>
      <a:lvl4pPr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4pPr>
      <a:lvl5pPr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5pPr>
      <a:lvl6pPr marL="371464"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6pPr>
      <a:lvl7pPr marL="742928"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7pPr>
      <a:lvl8pPr marL="1114391"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8pPr>
      <a:lvl9pPr marL="1485854" algn="l" defTabSz="557195" rtl="0" fontAlgn="base">
        <a:lnSpc>
          <a:spcPct val="75000"/>
        </a:lnSpc>
        <a:spcBef>
          <a:spcPct val="0"/>
        </a:spcBef>
        <a:spcAft>
          <a:spcPct val="0"/>
        </a:spcAft>
        <a:defRPr sz="1625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08344" indent="-108344" algn="l" defTabSz="557195" rtl="0" fontAlgn="base">
        <a:lnSpc>
          <a:spcPct val="90000"/>
        </a:lnSpc>
        <a:spcBef>
          <a:spcPct val="0"/>
        </a:spcBef>
        <a:spcAft>
          <a:spcPts val="488"/>
        </a:spcAft>
        <a:buClr>
          <a:schemeClr val="accent1"/>
        </a:buClr>
        <a:buFont typeface="Arial" charset="0"/>
        <a:buChar char="•"/>
        <a:defRPr lang="en-US" sz="894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06369" indent="-98025" algn="l" defTabSz="557195" rtl="0" fontAlgn="base">
        <a:lnSpc>
          <a:spcPct val="90000"/>
        </a:lnSpc>
        <a:spcBef>
          <a:spcPct val="0"/>
        </a:spcBef>
        <a:spcAft>
          <a:spcPts val="488"/>
        </a:spcAft>
        <a:buClr>
          <a:schemeClr val="accent1"/>
        </a:buClr>
        <a:buFont typeface="Arial" charset="0"/>
        <a:buChar char="–"/>
        <a:defRPr lang="en-US" sz="894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09553" indent="-103184" algn="l" defTabSz="557195" rtl="0" fontAlgn="base">
        <a:lnSpc>
          <a:spcPct val="90000"/>
        </a:lnSpc>
        <a:spcBef>
          <a:spcPct val="0"/>
        </a:spcBef>
        <a:spcAft>
          <a:spcPts val="488"/>
        </a:spcAft>
        <a:buClr>
          <a:schemeClr val="accent1"/>
        </a:buClr>
        <a:buFont typeface="Arial" charset="0"/>
        <a:buChar char="•"/>
        <a:defRPr lang="en-US" sz="894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02419" indent="-98025" algn="l" defTabSz="557195" rtl="0" fontAlgn="base">
        <a:lnSpc>
          <a:spcPct val="90000"/>
        </a:lnSpc>
        <a:spcBef>
          <a:spcPct val="0"/>
        </a:spcBef>
        <a:spcAft>
          <a:spcPts val="488"/>
        </a:spcAft>
        <a:buClr>
          <a:schemeClr val="accent1"/>
        </a:buClr>
        <a:buFont typeface="Arial" charset="0"/>
        <a:buChar char="•"/>
        <a:defRPr lang="en-US" sz="894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500444" indent="-98025" algn="l" defTabSz="557195" rtl="0" fontAlgn="base">
        <a:lnSpc>
          <a:spcPct val="90000"/>
        </a:lnSpc>
        <a:spcBef>
          <a:spcPct val="0"/>
        </a:spcBef>
        <a:spcAft>
          <a:spcPts val="488"/>
        </a:spcAft>
        <a:buClr>
          <a:schemeClr val="accent1"/>
        </a:buClr>
        <a:buFont typeface="Arial" charset="0"/>
        <a:buChar char="•"/>
        <a:defRPr lang="en-US" sz="894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598500" marR="0" indent="-98030" algn="l" defTabSz="557225" rtl="0" eaLnBrk="1" fontAlgn="auto" latinLnBrk="0" hangingPunct="1">
        <a:lnSpc>
          <a:spcPct val="90000"/>
        </a:lnSpc>
        <a:spcBef>
          <a:spcPts val="0"/>
        </a:spcBef>
        <a:spcAft>
          <a:spcPts val="488"/>
        </a:spcAft>
        <a:buClr>
          <a:schemeClr val="accent1"/>
        </a:buClr>
        <a:buSzTx/>
        <a:buFont typeface="Arial" panose="020B0604020202020204" pitchFamily="34" charset="0"/>
        <a:buChar char="•"/>
        <a:tabLst/>
        <a:defRPr sz="894" kern="1200">
          <a:solidFill>
            <a:schemeClr val="tx1"/>
          </a:solidFill>
          <a:latin typeface="+mn-lt"/>
          <a:ea typeface="+mn-ea"/>
          <a:cs typeface="+mn-cs"/>
        </a:defRPr>
      </a:lvl6pPr>
      <a:lvl7pPr marL="701690" indent="-108350" algn="l" defTabSz="557225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tabLst>
          <a:tab pos="1821298" algn="l"/>
        </a:tabLst>
        <a:defRPr sz="812" kern="1200">
          <a:solidFill>
            <a:schemeClr val="tx1"/>
          </a:solidFill>
          <a:latin typeface="+mn-lt"/>
          <a:ea typeface="+mn-ea"/>
          <a:cs typeface="+mn-cs"/>
        </a:defRPr>
      </a:lvl7pPr>
      <a:lvl8pPr marL="701690" indent="-103190" algn="l" defTabSz="557225" rtl="0" eaLnBrk="1" latinLnBrk="0" hangingPunct="1">
        <a:lnSpc>
          <a:spcPct val="9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812" kern="1200">
          <a:solidFill>
            <a:schemeClr val="tx1"/>
          </a:solidFill>
          <a:latin typeface="+mn-lt"/>
          <a:ea typeface="+mn-ea"/>
          <a:cs typeface="+mn-cs"/>
        </a:defRPr>
      </a:lvl8pPr>
      <a:lvl9pPr marL="2228897" indent="0" algn="l" defTabSz="557225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None/>
        <a:defRPr sz="81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612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225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836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448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3061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673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50285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897" algn="l" defTabSz="557225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627" name="Object 14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2" y="18"/>
          <a:ext cx="162659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276627" name="Object 147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8"/>
                        <a:ext cx="162659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629" name="Picture 3"/>
          <p:cNvPicPr>
            <a:picLocks noChangeArrowheads="1"/>
          </p:cNvPicPr>
          <p:nvPr/>
        </p:nvPicPr>
        <p:blipFill>
          <a:blip r:embed="rId30"/>
          <a:srcRect/>
          <a:stretch>
            <a:fillRect/>
          </a:stretch>
        </p:blipFill>
        <p:spPr bwMode="auto">
          <a:xfrm>
            <a:off x="385402" y="634605"/>
            <a:ext cx="7373816" cy="148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089536" y="38101"/>
            <a:ext cx="669681" cy="940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717646">
              <a:defRPr/>
            </a:pPr>
            <a:endParaRPr lang="en-US" sz="675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98947" y="1485222"/>
            <a:ext cx="1346522" cy="6925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>
                <a:solidFill>
                  <a:srgbClr val="000000"/>
                </a:solidFill>
                <a:latin typeface="Arial"/>
              </a:rPr>
              <a:t>Last Modified 12/09/2013 17:09 GMT Standard Time</a:t>
            </a: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79097" y="3149123"/>
            <a:ext cx="1186222" cy="6925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>
                <a:solidFill>
                  <a:srgbClr val="000000"/>
                </a:solidFill>
                <a:latin typeface="Arial"/>
              </a:rPr>
              <a:t>Printed 10/09/2013 19:29 GMT Standard Time</a:t>
            </a: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663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11217" y="2294335"/>
            <a:ext cx="4390292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85397" y="20242"/>
            <a:ext cx="689291" cy="17312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25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85397" y="732252"/>
            <a:ext cx="5965580" cy="19620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5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276636" name="McK Slide Elements" hidden="1"/>
          <p:cNvGrpSpPr>
            <a:grpSpLocks/>
          </p:cNvGrpSpPr>
          <p:nvPr/>
        </p:nvGrpSpPr>
        <p:grpSpPr bwMode="auto">
          <a:xfrm>
            <a:off x="385397" y="4708182"/>
            <a:ext cx="8251580" cy="317459"/>
            <a:chOff x="131612" y="6277989"/>
            <a:chExt cx="9083004" cy="422849"/>
          </a:xfrm>
        </p:grpSpPr>
        <p:sp>
          <p:nvSpPr>
            <p:cNvPr id="13" name="McK 4. Footnote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31612" y="6277989"/>
              <a:ext cx="9083004" cy="16910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106" indent="-88106">
                <a:defRPr/>
              </a:pPr>
              <a:r>
                <a:rPr lang="en-US" sz="825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31612" y="6531732"/>
              <a:ext cx="9083004" cy="16910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389335" indent="-389335" defTabSz="717646">
                <a:tabLst>
                  <a:tab pos="395288" algn="l"/>
                </a:tabLst>
                <a:defRPr/>
              </a:pPr>
              <a:r>
                <a:rPr lang="en-US" sz="825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276637" name="ACET" hidden="1"/>
          <p:cNvGrpSpPr>
            <a:grpSpLocks/>
          </p:cNvGrpSpPr>
          <p:nvPr/>
        </p:nvGrpSpPr>
        <p:grpSpPr bwMode="auto">
          <a:xfrm>
            <a:off x="1811217" y="1862038"/>
            <a:ext cx="4390292" cy="410866"/>
            <a:chOff x="915" y="692"/>
            <a:chExt cx="2686" cy="338"/>
          </a:xfrm>
        </p:grpSpPr>
        <p:cxnSp>
          <p:nvCxnSpPr>
            <p:cNvPr id="276684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2"/>
              <a:ext cx="2686" cy="3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275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>
                <a:defRPr/>
              </a:pPr>
              <a:r>
                <a:rPr lang="en-US" sz="1275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276638" name="Picture 7" descr="LBG.png"/>
          <p:cNvPicPr>
            <a:picLocks noChangeAspect="1"/>
          </p:cNvPicPr>
          <p:nvPr userDrawn="1"/>
        </p:nvPicPr>
        <p:blipFill>
          <a:blip r:embed="rId31"/>
          <a:srcRect/>
          <a:stretch>
            <a:fillRect/>
          </a:stretch>
        </p:blipFill>
        <p:spPr bwMode="auto">
          <a:xfrm>
            <a:off x="8028843" y="52390"/>
            <a:ext cx="737088" cy="66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63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85402" y="411974"/>
            <a:ext cx="7373816" cy="230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276640" name="LegendBoxes" hidden="1"/>
          <p:cNvGrpSpPr>
            <a:grpSpLocks/>
          </p:cNvGrpSpPr>
          <p:nvPr/>
        </p:nvGrpSpPr>
        <p:grpSpPr bwMode="auto">
          <a:xfrm>
            <a:off x="7932131" y="773906"/>
            <a:ext cx="619859" cy="747713"/>
            <a:chOff x="4936" y="176"/>
            <a:chExt cx="423" cy="628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76641" name="LegendLines" hidden="1"/>
          <p:cNvGrpSpPr>
            <a:grpSpLocks/>
          </p:cNvGrpSpPr>
          <p:nvPr/>
        </p:nvGrpSpPr>
        <p:grpSpPr bwMode="auto">
          <a:xfrm>
            <a:off x="7647859" y="773907"/>
            <a:ext cx="904142" cy="547688"/>
            <a:chOff x="4750" y="176"/>
            <a:chExt cx="617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276642" name="McKSticker" hidden="1"/>
          <p:cNvGrpSpPr>
            <a:grpSpLocks/>
          </p:cNvGrpSpPr>
          <p:nvPr/>
        </p:nvGrpSpPr>
        <p:grpSpPr bwMode="auto">
          <a:xfrm>
            <a:off x="7827026" y="773908"/>
            <a:ext cx="809966" cy="166199"/>
            <a:chOff x="7863234" y="285750"/>
            <a:chExt cx="877541" cy="221224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63234" y="285750"/>
              <a:ext cx="877541" cy="2212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276668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63234" y="285750"/>
              <a:ext cx="0" cy="22122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276669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63234" y="506974"/>
              <a:ext cx="87754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276643" name="LegendMoons" hidden="1"/>
          <p:cNvGrpSpPr>
            <a:grpSpLocks/>
          </p:cNvGrpSpPr>
          <p:nvPr/>
        </p:nvGrpSpPr>
        <p:grpSpPr bwMode="auto">
          <a:xfrm>
            <a:off x="7870562" y="773924"/>
            <a:ext cx="680729" cy="979885"/>
            <a:chOff x="6655594" y="273840"/>
            <a:chExt cx="737600" cy="1306516"/>
          </a:xfrm>
        </p:grpSpPr>
        <p:grpSp>
          <p:nvGrpSpPr>
            <p:cNvPr id="276647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76648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76649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76650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332" y="286540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332" y="561179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332" y="835816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332" y="1107280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332" y="1383506"/>
              <a:ext cx="416862" cy="1846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297B52"/>
                </a:buClr>
                <a:defRPr/>
              </a:pPr>
              <a:r>
                <a:rPr lang="en-US" sz="9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276656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76644" name="McK 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7870588" y="1891903"/>
            <a:ext cx="234463" cy="1905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7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275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hc" descr=" "/>
          <p:cNvSpPr txBox="1"/>
          <p:nvPr userDrawn="1"/>
        </p:nvSpPr>
        <p:spPr>
          <a:xfrm>
            <a:off x="0" y="2"/>
            <a:ext cx="9144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GB" sz="180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3" name="fc" descr=" "/>
          <p:cNvSpPr txBox="1"/>
          <p:nvPr userDrawn="1"/>
        </p:nvSpPr>
        <p:spPr>
          <a:xfrm>
            <a:off x="0" y="4821557"/>
            <a:ext cx="9144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GB" sz="180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5" name="MSIPCMContentMarking" descr="{&quot;HashCode&quot;:47140605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08E95164-5714-4A48-AB0F-1D4890102154}"/>
              </a:ext>
            </a:extLst>
          </p:cNvPr>
          <p:cNvSpPr txBox="1"/>
          <p:nvPr userDrawn="1"/>
        </p:nvSpPr>
        <p:spPr>
          <a:xfrm>
            <a:off x="0" y="55929"/>
            <a:ext cx="168171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4" name="MSIPCMContentMarking" descr="{&quot;HashCode&quot;:-153723364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84B5D8EB-72DA-4F57-ADC2-0ACA1087BAED}"/>
              </a:ext>
            </a:extLst>
          </p:cNvPr>
          <p:cNvSpPr txBox="1"/>
          <p:nvPr userDrawn="1"/>
        </p:nvSpPr>
        <p:spPr>
          <a:xfrm>
            <a:off x="0" y="0"/>
            <a:ext cx="198078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FFA500"/>
                </a:solidFill>
                <a:latin typeface="Calibri" panose="020F0502020204030204" pitchFamily="34" charset="0"/>
              </a:rPr>
              <a:t>Classification: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2606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8" r:id="rId5"/>
  </p:sldLayoutIdLst>
  <p:hf hdr="0" ftr="0" dt="0"/>
  <p:txStyles>
    <p:titleStyle>
      <a:lvl1pPr algn="l" defTabSz="716756" rtl="0" eaLnBrk="0" fontAlgn="base" hangingPunct="0">
        <a:spcBef>
          <a:spcPct val="0"/>
        </a:spcBef>
        <a:spcAft>
          <a:spcPct val="0"/>
        </a:spcAft>
        <a:tabLst>
          <a:tab pos="215504" algn="l"/>
        </a:tabLst>
        <a:defRPr sz="1500" b="1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716756" rtl="0" eaLnBrk="0" fontAlgn="base" hangingPunct="0">
        <a:spcBef>
          <a:spcPct val="0"/>
        </a:spcBef>
        <a:spcAft>
          <a:spcPct val="0"/>
        </a:spcAft>
        <a:tabLst>
          <a:tab pos="215504" algn="l"/>
        </a:tabLst>
        <a:defRPr sz="1500" b="1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716756" rtl="0" eaLnBrk="0" fontAlgn="base" hangingPunct="0">
        <a:spcBef>
          <a:spcPct val="0"/>
        </a:spcBef>
        <a:spcAft>
          <a:spcPct val="0"/>
        </a:spcAft>
        <a:tabLst>
          <a:tab pos="215504" algn="l"/>
        </a:tabLst>
        <a:defRPr sz="1500" b="1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716756" rtl="0" eaLnBrk="0" fontAlgn="base" hangingPunct="0">
        <a:spcBef>
          <a:spcPct val="0"/>
        </a:spcBef>
        <a:spcAft>
          <a:spcPct val="0"/>
        </a:spcAft>
        <a:tabLst>
          <a:tab pos="215504" algn="l"/>
        </a:tabLst>
        <a:defRPr sz="1500" b="1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716756" rtl="0" eaLnBrk="0" fontAlgn="base" hangingPunct="0">
        <a:spcBef>
          <a:spcPct val="0"/>
        </a:spcBef>
        <a:spcAft>
          <a:spcPct val="0"/>
        </a:spcAft>
        <a:tabLst>
          <a:tab pos="215504" algn="l"/>
        </a:tabLst>
        <a:defRPr sz="1500" b="1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366458" algn="l" defTabSz="717646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732914" algn="l" defTabSz="717646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99372" algn="l" defTabSz="717646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465829" algn="l" defTabSz="717646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275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54781" indent="-153591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75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65522" indent="-209550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75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91729" indent="-123825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75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600075" indent="-103585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600990" indent="-104339" algn="l" defTabSz="717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 baseline="0">
          <a:solidFill>
            <a:schemeClr val="tx1"/>
          </a:solidFill>
          <a:latin typeface="+mn-lt"/>
        </a:defRPr>
      </a:lvl6pPr>
      <a:lvl7pPr marL="600990" indent="-104339" algn="l" defTabSz="717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 baseline="0">
          <a:solidFill>
            <a:schemeClr val="tx1"/>
          </a:solidFill>
          <a:latin typeface="+mn-lt"/>
        </a:defRPr>
      </a:lvl7pPr>
      <a:lvl8pPr marL="600990" indent="-104339" algn="l" defTabSz="717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 baseline="0">
          <a:solidFill>
            <a:schemeClr val="tx1"/>
          </a:solidFill>
          <a:latin typeface="+mn-lt"/>
        </a:defRPr>
      </a:lvl8pPr>
      <a:lvl9pPr marL="600990" indent="-104339" algn="l" defTabSz="717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66458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2914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99372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65829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32286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198744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65200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31658" algn="l" defTabSz="73291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15" t="16145" r="8266" b="12628"/>
          <a:stretch>
            <a:fillRect/>
          </a:stretch>
        </p:blipFill>
        <p:spPr bwMode="auto">
          <a:xfrm>
            <a:off x="7867794" y="266801"/>
            <a:ext cx="1094293" cy="1034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8398" y="4861594"/>
            <a:ext cx="391013" cy="180379"/>
          </a:xfrm>
          <a:prstGeom prst="rect">
            <a:avLst/>
          </a:prstGeom>
        </p:spPr>
        <p:txBody>
          <a:bodyPr vert="horz" lIns="0" tIns="0" rIns="35930" bIns="0" rtlCol="0" anchor="t"/>
          <a:lstStyle>
            <a:lvl1pPr algn="r" defTabSz="711923" fontAlgn="auto">
              <a:spcBef>
                <a:spcPts val="0"/>
              </a:spcBef>
              <a:spcAft>
                <a:spcPts val="0"/>
              </a:spcAft>
              <a:defRPr sz="612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6803417-1D2E-450F-B1CD-DD0593F345E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399161" y="320807"/>
            <a:ext cx="6998860" cy="550858"/>
          </a:xfrm>
          <a:prstGeom prst="rect">
            <a:avLst/>
          </a:prstGeom>
        </p:spPr>
        <p:txBody>
          <a:bodyPr vert="horz" lIns="0" tIns="28747" rIns="0" bIns="0" rtlCol="0" anchor="t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399161" y="1247531"/>
            <a:ext cx="699886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5"/>
          <p:cNvSpPr>
            <a:spLocks noGrp="1"/>
          </p:cNvSpPr>
          <p:nvPr>
            <p:ph type="body" idx="1"/>
          </p:nvPr>
        </p:nvSpPr>
        <p:spPr>
          <a:xfrm>
            <a:off x="399161" y="1392266"/>
            <a:ext cx="6998860" cy="3304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031" name="Rectangle 1"/>
          <p:cNvSpPr>
            <a:spLocks noChangeArrowheads="1"/>
          </p:cNvSpPr>
          <p:nvPr/>
        </p:nvSpPr>
        <p:spPr bwMode="auto">
          <a:xfrm>
            <a:off x="4060841" y="4861599"/>
            <a:ext cx="1976876" cy="125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2097" tIns="0" rIns="62097" bIns="31049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altLang="en-US" sz="612">
                <a:solidFill>
                  <a:srgbClr val="898989"/>
                </a:solidFill>
              </a:rPr>
              <a:t>© 2017 Lloyds Banking Group plc and its subsidiaries</a:t>
            </a:r>
          </a:p>
        </p:txBody>
      </p:sp>
      <p:sp>
        <p:nvSpPr>
          <p:cNvPr id="9" name="Text Placeholder 11"/>
          <p:cNvSpPr txBox="1">
            <a:spLocks/>
          </p:cNvSpPr>
          <p:nvPr/>
        </p:nvSpPr>
        <p:spPr>
          <a:xfrm>
            <a:off x="388299" y="4838908"/>
            <a:ext cx="2637979" cy="146896"/>
          </a:xfrm>
          <a:prstGeom prst="rect">
            <a:avLst/>
          </a:prstGeom>
        </p:spPr>
        <p:txBody>
          <a:bodyPr lIns="0" tIns="0" rIns="0" bIns="0" anchor="ctr"/>
          <a:lstStyle>
            <a:lvl1pPr marL="180000" indent="-1800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None/>
              <a:defRPr sz="10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7188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37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r>
              <a:rPr lang="en-US" sz="612"/>
              <a:t>Confidential</a:t>
            </a:r>
            <a:endParaRPr lang="en-GB" sz="612"/>
          </a:p>
        </p:txBody>
      </p:sp>
      <p:sp>
        <p:nvSpPr>
          <p:cNvPr id="1033" name="hc" descr=" "/>
          <p:cNvSpPr txBox="1">
            <a:spLocks noChangeArrowheads="1"/>
          </p:cNvSpPr>
          <p:nvPr/>
        </p:nvSpPr>
        <p:spPr bwMode="auto">
          <a:xfrm>
            <a:off x="1" y="0"/>
            <a:ext cx="9144000" cy="94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408"/>
              </a:spcAft>
              <a:buClr>
                <a:schemeClr val="accent1"/>
              </a:buClr>
              <a:buFont typeface="Arial" charset="0"/>
              <a:buNone/>
            </a:pPr>
            <a:r>
              <a:rPr lang="en-GB" altLang="en-US" sz="680"/>
              <a:t> </a:t>
            </a:r>
          </a:p>
        </p:txBody>
      </p:sp>
      <p:sp>
        <p:nvSpPr>
          <p:cNvPr id="1034" name="fc" descr=" "/>
          <p:cNvSpPr txBox="1">
            <a:spLocks noChangeArrowheads="1"/>
          </p:cNvSpPr>
          <p:nvPr/>
        </p:nvSpPr>
        <p:spPr bwMode="auto">
          <a:xfrm>
            <a:off x="1" y="4920997"/>
            <a:ext cx="9144000" cy="94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408"/>
              </a:spcAft>
              <a:buClr>
                <a:schemeClr val="accent1"/>
              </a:buClr>
              <a:buFont typeface="Arial" charset="0"/>
              <a:buNone/>
            </a:pPr>
            <a:r>
              <a:rPr lang="en-GB" altLang="en-US" sz="680"/>
              <a:t> </a:t>
            </a:r>
          </a:p>
        </p:txBody>
      </p:sp>
      <p:sp>
        <p:nvSpPr>
          <p:cNvPr id="4" name="MSIPCMContentMarking" descr="{&quot;HashCode&quot;:47140605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07AA12C1-DA22-4AB2-9CFD-7F2AB24C7F4F}"/>
              </a:ext>
            </a:extLst>
          </p:cNvPr>
          <p:cNvSpPr txBox="1"/>
          <p:nvPr userDrawn="1"/>
        </p:nvSpPr>
        <p:spPr>
          <a:xfrm>
            <a:off x="0" y="65163"/>
            <a:ext cx="1681718" cy="1661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GB" sz="1200" err="1">
              <a:solidFill>
                <a:srgbClr val="0000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MSIPCMContentMarking" descr="{&quot;HashCode&quot;:-153723364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D1624898-BEFB-47BE-87F8-91CA67AD5F18}"/>
              </a:ext>
            </a:extLst>
          </p:cNvPr>
          <p:cNvSpPr txBox="1"/>
          <p:nvPr userDrawn="1"/>
        </p:nvSpPr>
        <p:spPr>
          <a:xfrm>
            <a:off x="0" y="0"/>
            <a:ext cx="198078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GB" sz="1200">
                <a:solidFill>
                  <a:srgbClr val="FFA5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lassification: Confidential</a:t>
            </a:r>
            <a:endParaRPr lang="en-GB" sz="1200" err="1">
              <a:solidFill>
                <a:srgbClr val="FFA5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503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</p:sldLayoutIdLst>
  <p:hf hdr="0" ftr="0" dt="0"/>
  <p:txStyles>
    <p:titleStyle>
      <a:lvl1pPr algn="l" defTabSz="683516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lang="en-US" sz="2042" b="1" kern="1200" cap="all" dirty="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683516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2pPr>
      <a:lvl3pPr algn="l" defTabSz="683516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3pPr>
      <a:lvl4pPr algn="l" defTabSz="683516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4pPr>
      <a:lvl5pPr algn="l" defTabSz="683516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5pPr>
      <a:lvl6pPr marL="310493" algn="l" defTabSz="683516" rtl="0" fontAlgn="base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6pPr>
      <a:lvl7pPr marL="620987" algn="l" defTabSz="683516" rtl="0" fontAlgn="base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7pPr>
      <a:lvl8pPr marL="931478" algn="l" defTabSz="683516" rtl="0" fontAlgn="base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8pPr>
      <a:lvl9pPr marL="1241970" algn="l" defTabSz="683516" rtl="0" fontAlgn="base">
        <a:lnSpc>
          <a:spcPct val="75000"/>
        </a:lnSpc>
        <a:spcBef>
          <a:spcPct val="0"/>
        </a:spcBef>
        <a:spcAft>
          <a:spcPct val="0"/>
        </a:spcAft>
        <a:defRPr sz="2042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132606" indent="-132606" algn="l" defTabSz="683516" rtl="0" eaLnBrk="0" fontAlgn="base" hangingPunct="0">
        <a:lnSpc>
          <a:spcPct val="90000"/>
        </a:lnSpc>
        <a:spcBef>
          <a:spcPct val="0"/>
        </a:spcBef>
        <a:spcAft>
          <a:spcPts val="605"/>
        </a:spcAft>
        <a:buClr>
          <a:schemeClr val="accent1"/>
        </a:buClr>
        <a:buFont typeface="Arial" charset="0"/>
        <a:buChar char="•"/>
        <a:defRPr lang="en-US" sz="95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53354" indent="-119671" algn="l" defTabSz="683516" rtl="0" eaLnBrk="0" fontAlgn="base" hangingPunct="0">
        <a:lnSpc>
          <a:spcPct val="90000"/>
        </a:lnSpc>
        <a:spcBef>
          <a:spcPct val="0"/>
        </a:spcBef>
        <a:spcAft>
          <a:spcPts val="605"/>
        </a:spcAft>
        <a:buClr>
          <a:schemeClr val="accent1"/>
        </a:buClr>
        <a:buFont typeface="Arial" charset="0"/>
        <a:buChar char="–"/>
        <a:defRPr lang="en-US" sz="95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79492" indent="-126138" algn="l" defTabSz="683516" rtl="0" eaLnBrk="0" fontAlgn="base" hangingPunct="0">
        <a:lnSpc>
          <a:spcPct val="90000"/>
        </a:lnSpc>
        <a:spcBef>
          <a:spcPct val="0"/>
        </a:spcBef>
        <a:spcAft>
          <a:spcPts val="605"/>
        </a:spcAft>
        <a:buClr>
          <a:schemeClr val="accent1"/>
        </a:buClr>
        <a:buFont typeface="Arial" charset="0"/>
        <a:buChar char="•"/>
        <a:defRPr lang="en-US" sz="95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93775" indent="-119671" algn="l" defTabSz="683516" rtl="0" eaLnBrk="0" fontAlgn="base" hangingPunct="0">
        <a:lnSpc>
          <a:spcPct val="90000"/>
        </a:lnSpc>
        <a:spcBef>
          <a:spcPct val="0"/>
        </a:spcBef>
        <a:spcAft>
          <a:spcPts val="605"/>
        </a:spcAft>
        <a:buClr>
          <a:schemeClr val="accent1"/>
        </a:buClr>
        <a:buFont typeface="Arial" charset="0"/>
        <a:buChar char="•"/>
        <a:defRPr lang="en-US" sz="95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14519" indent="-119671" algn="l" defTabSz="683516" rtl="0" eaLnBrk="0" fontAlgn="base" hangingPunct="0">
        <a:lnSpc>
          <a:spcPct val="90000"/>
        </a:lnSpc>
        <a:spcBef>
          <a:spcPct val="0"/>
        </a:spcBef>
        <a:spcAft>
          <a:spcPts val="605"/>
        </a:spcAft>
        <a:buClr>
          <a:schemeClr val="accent1"/>
        </a:buClr>
        <a:buFont typeface="Arial" charset="0"/>
        <a:buChar char="•"/>
        <a:defRPr lang="en-US" sz="953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35252" marR="0" indent="-120431" algn="l" defTabSz="684546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Tx/>
        <a:buFont typeface="Arial" panose="020B0604020202020204" pitchFamily="34" charset="0"/>
        <a:buChar char="•"/>
        <a:tabLst/>
        <a:defRPr sz="1021" kern="1200">
          <a:solidFill>
            <a:schemeClr val="tx1"/>
          </a:solidFill>
          <a:latin typeface="+mn-lt"/>
          <a:ea typeface="+mn-ea"/>
          <a:cs typeface="+mn-cs"/>
        </a:defRPr>
      </a:lvl6pPr>
      <a:lvl7pPr marL="862021" indent="-133108" algn="l" defTabSz="68454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tabLst>
          <a:tab pos="2237449" algn="l"/>
        </a:tabLst>
        <a:defRPr sz="1021" kern="1200">
          <a:solidFill>
            <a:schemeClr val="tx1"/>
          </a:solidFill>
          <a:latin typeface="+mn-lt"/>
          <a:ea typeface="+mn-ea"/>
          <a:cs typeface="+mn-cs"/>
        </a:defRPr>
      </a:lvl7pPr>
      <a:lvl8pPr marL="862021" indent="-126767" algn="l" defTabSz="6845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21" kern="1200">
          <a:solidFill>
            <a:schemeClr val="tx1"/>
          </a:solidFill>
          <a:latin typeface="+mn-lt"/>
          <a:ea typeface="+mn-ea"/>
          <a:cs typeface="+mn-cs"/>
        </a:defRPr>
      </a:lvl8pPr>
      <a:lvl9pPr marL="2738179" indent="0" algn="l" defTabSz="68454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2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1pPr>
      <a:lvl2pPr marL="342271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2pPr>
      <a:lvl3pPr marL="684546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3pPr>
      <a:lvl4pPr marL="1026816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4pPr>
      <a:lvl5pPr marL="1369089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5pPr>
      <a:lvl6pPr marL="1711362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6pPr>
      <a:lvl7pPr marL="2053635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7pPr>
      <a:lvl8pPr marL="2395907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8pPr>
      <a:lvl9pPr marL="2738179" algn="l" defTabSz="684546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1273" y="186172"/>
            <a:ext cx="6815255" cy="5282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258" y="1269000"/>
            <a:ext cx="7468795" cy="340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5220" y="4880342"/>
            <a:ext cx="4203371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08313" y="4887000"/>
            <a:ext cx="664616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/>
                </a:solidFill>
              </a:defRPr>
            </a:lvl1pPr>
          </a:lstStyle>
          <a:p>
            <a:fld id="{04A6DFD0-A633-4A6A-876A-343AA8592D07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H="1">
            <a:off x="8179729" y="4852583"/>
            <a:ext cx="609300" cy="0"/>
          </a:xfrm>
          <a:prstGeom prst="line">
            <a:avLst/>
          </a:prstGeom>
          <a:ln w="2032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394205" y="1004111"/>
            <a:ext cx="6812308" cy="0"/>
          </a:xfrm>
          <a:prstGeom prst="line">
            <a:avLst/>
          </a:prstGeom>
          <a:ln w="1968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hc" descr=" "/>
          <p:cNvSpPr txBox="1"/>
          <p:nvPr userDrawn="1"/>
        </p:nvSpPr>
        <p:spPr>
          <a:xfrm>
            <a:off x="0" y="2"/>
            <a:ext cx="9144000" cy="389157"/>
          </a:xfrm>
          <a:prstGeom prst="rect">
            <a:avLst/>
          </a:prstGeom>
          <a:noFill/>
        </p:spPr>
        <p:txBody>
          <a:bodyPr vert="horz" wrap="square" lIns="81000" tIns="81000" rIns="81000" bIns="81000" rtlCol="0" anchor="t" anchorCtr="0">
            <a:spAutoFit/>
          </a:bodyPr>
          <a:lstStyle/>
          <a:p>
            <a:pPr algn="ctr">
              <a:lnSpc>
                <a:spcPct val="105000"/>
              </a:lnSpc>
            </a:pPr>
            <a:r>
              <a:rPr lang="en-GB" sz="150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14" name="Picture 2" descr="C:\Users\9383560\Desktop\LBG_THIRD_PARTY_LOGO_Version_2\RGB_PNGs_v2\LBG_3P_HORIZ_POS_RGB_v2.png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9162" y="177935"/>
            <a:ext cx="1701164" cy="66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SIPCMContentMarking" descr="{&quot;HashCode&quot;:47140605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AEACBB7E-7AD4-4B95-97DF-D62629B9D54B}"/>
              </a:ext>
            </a:extLst>
          </p:cNvPr>
          <p:cNvSpPr txBox="1"/>
          <p:nvPr userDrawn="1"/>
        </p:nvSpPr>
        <p:spPr>
          <a:xfrm>
            <a:off x="0" y="55224"/>
            <a:ext cx="1681718" cy="1860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105000"/>
              </a:lnSpc>
              <a:spcBef>
                <a:spcPct val="0"/>
              </a:spcBef>
              <a:spcAft>
                <a:spcPct val="0"/>
              </a:spcAft>
            </a:pPr>
            <a:endParaRPr lang="en-GB" sz="1200" err="1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MSIPCMContentMarking" descr="{&quot;HashCode&quot;:-153723364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2E890833-BDE7-4EC1-A83E-6C14378BD9B0}"/>
              </a:ext>
            </a:extLst>
          </p:cNvPr>
          <p:cNvSpPr txBox="1"/>
          <p:nvPr userDrawn="1"/>
        </p:nvSpPr>
        <p:spPr>
          <a:xfrm>
            <a:off x="0" y="0"/>
            <a:ext cx="198078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105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FFA500"/>
                </a:solidFill>
                <a:latin typeface="Calibri" panose="020F0502020204030204" pitchFamily="34" charset="0"/>
              </a:rPr>
              <a:t>Classification: Confidential</a:t>
            </a:r>
            <a:endParaRPr lang="en-GB" sz="1200" err="1">
              <a:solidFill>
                <a:srgbClr val="FFA5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67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  <p:sldLayoutId id="2147484077" r:id="rId13"/>
    <p:sldLayoutId id="2147484078" r:id="rId14"/>
    <p:sldLayoutId id="2147484079" r:id="rId15"/>
    <p:sldLayoutId id="2147484081" r:id="rId16"/>
    <p:sldLayoutId id="2147484082" r:id="rId17"/>
    <p:sldLayoutId id="2147484083" r:id="rId18"/>
    <p:sldLayoutId id="2147484084" r:id="rId19"/>
    <p:sldLayoutId id="2147484085" r:id="rId20"/>
  </p:sldLayoutIdLst>
  <p:hf sldNum="0" hdr="0" ft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21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05000"/>
        </a:lnSpc>
        <a:spcBef>
          <a:spcPts val="0"/>
        </a:spcBef>
        <a:spcAft>
          <a:spcPts val="450"/>
        </a:spcAft>
        <a:buClr>
          <a:schemeClr val="accent1"/>
        </a:buClr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267891" indent="-133350" algn="l" defTabSz="685800" rtl="0" eaLnBrk="1" latinLnBrk="0" hangingPunct="1">
        <a:lnSpc>
          <a:spcPct val="105000"/>
        </a:lnSpc>
        <a:spcBef>
          <a:spcPts val="0"/>
        </a:spcBef>
        <a:spcAft>
          <a:spcPts val="450"/>
        </a:spcAft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2431" indent="-134541" algn="l" defTabSz="685800" rtl="0" eaLnBrk="1" latinLnBrk="0" hangingPunct="1">
        <a:lnSpc>
          <a:spcPct val="105000"/>
        </a:lnSpc>
        <a:spcBef>
          <a:spcPts val="0"/>
        </a:spcBef>
        <a:spcAft>
          <a:spcPts val="450"/>
        </a:spcAft>
        <a:buClr>
          <a:schemeClr val="accent1"/>
        </a:buClr>
        <a:buFont typeface="Arial" pitchFamily="34" charset="0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36972" indent="-134541" algn="l" defTabSz="685800" rtl="0" eaLnBrk="1" latinLnBrk="0" hangingPunct="1">
        <a:lnSpc>
          <a:spcPct val="105000"/>
        </a:lnSpc>
        <a:spcBef>
          <a:spcPts val="0"/>
        </a:spcBef>
        <a:spcAft>
          <a:spcPts val="450"/>
        </a:spcAft>
        <a:buClr>
          <a:schemeClr val="accent1"/>
        </a:buClr>
        <a:buFont typeface="Arial" pitchFamily="34" charset="0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670322" indent="-133350" algn="l" defTabSz="685800" rtl="0" eaLnBrk="1" latinLnBrk="0" hangingPunct="1">
        <a:lnSpc>
          <a:spcPct val="105000"/>
        </a:lnSpc>
        <a:spcBef>
          <a:spcPts val="0"/>
        </a:spcBef>
        <a:spcAft>
          <a:spcPts val="450"/>
        </a:spcAft>
        <a:buClr>
          <a:schemeClr val="accent1"/>
        </a:buClr>
        <a:buFont typeface="Arial" pitchFamily="34" charset="0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5">
          <p15:clr>
            <a:srgbClr val="F26B43"/>
          </p15:clr>
        </p15:guide>
        <p15:guide id="2" pos="267">
          <p15:clr>
            <a:srgbClr val="F26B43"/>
          </p15:clr>
        </p15:guide>
        <p15:guide id="3" pos="5367">
          <p15:clr>
            <a:srgbClr val="F26B43"/>
          </p15:clr>
        </p15:guide>
        <p15:guide id="4" orient="horz" pos="1061">
          <p15:clr>
            <a:srgbClr val="F26B43"/>
          </p15:clr>
        </p15:guide>
        <p15:guide id="5" orient="horz" pos="604">
          <p15:clr>
            <a:srgbClr val="F26B43"/>
          </p15:clr>
        </p15:guide>
        <p15:guide id="6" orient="horz" pos="3927">
          <p15:clr>
            <a:srgbClr val="F26B43"/>
          </p15:clr>
        </p15:guide>
        <p15:guide id="7" orient="horz" pos="84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9BBD25EE-CC08-46A4-9BEF-D3C328B4B05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84638" y="177404"/>
            <a:ext cx="73914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5E0B9F5D-D4C1-4B82-A8B3-064F5BD57C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17989" y="966787"/>
            <a:ext cx="7391400" cy="16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9" name="Rectangle 15">
            <a:extLst>
              <a:ext uri="{FF2B5EF4-FFF2-40B4-BE49-F238E27FC236}">
                <a16:creationId xmlns:a16="http://schemas.microsoft.com/office/drawing/2014/main" id="{7B23CD90-7421-4024-9D7A-50525AB1EB38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28136" y="4948238"/>
            <a:ext cx="611065" cy="132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600"/>
            </a:lvl1pPr>
          </a:lstStyle>
          <a:p>
            <a:pPr>
              <a:defRPr/>
            </a:pPr>
            <a:fld id="{B3CEFBDE-2207-49E6-A22D-09F0198726C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pic>
        <p:nvPicPr>
          <p:cNvPr id="1029" name="Picture 7" descr="LBG.png">
            <a:extLst>
              <a:ext uri="{FF2B5EF4-FFF2-40B4-BE49-F238E27FC236}">
                <a16:creationId xmlns:a16="http://schemas.microsoft.com/office/drawing/2014/main" id="{3CC0E5D1-44D9-48A3-8624-4DAA2AC671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136" y="141685"/>
            <a:ext cx="722434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7" descr="rule">
            <a:extLst>
              <a:ext uri="{FF2B5EF4-FFF2-40B4-BE49-F238E27FC236}">
                <a16:creationId xmlns:a16="http://schemas.microsoft.com/office/drawing/2014/main" id="{723E03D4-83A6-44A4-A5C0-623D3C56F8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1" y="4852988"/>
            <a:ext cx="619858" cy="88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Line 9">
            <a:extLst>
              <a:ext uri="{FF2B5EF4-FFF2-40B4-BE49-F238E27FC236}">
                <a16:creationId xmlns:a16="http://schemas.microsoft.com/office/drawing/2014/main" id="{36A6CDA5-E006-4E3B-B6B6-6F422CCC547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83931" y="789385"/>
            <a:ext cx="7445620" cy="0"/>
          </a:xfrm>
          <a:prstGeom prst="line">
            <a:avLst/>
          </a:prstGeom>
          <a:noFill/>
          <a:ln w="9525">
            <a:solidFill>
              <a:srgbClr val="047A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050"/>
          </a:p>
        </p:txBody>
      </p:sp>
      <p:sp>
        <p:nvSpPr>
          <p:cNvPr id="1032" name="hc" descr=" ">
            <a:extLst>
              <a:ext uri="{FF2B5EF4-FFF2-40B4-BE49-F238E27FC236}">
                <a16:creationId xmlns:a16="http://schemas.microsoft.com/office/drawing/2014/main" id="{084921CB-F3E0-4790-BB46-F89F55A9C0E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0"/>
            <a:ext cx="9144000" cy="3231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defRPr/>
            </a:pPr>
            <a:r>
              <a:rPr lang="en-GB" altLang="en-US" sz="1500"/>
              <a:t> </a:t>
            </a:r>
          </a:p>
        </p:txBody>
      </p:sp>
      <p:sp>
        <p:nvSpPr>
          <p:cNvPr id="1033" name="fc" descr=" ">
            <a:extLst>
              <a:ext uri="{FF2B5EF4-FFF2-40B4-BE49-F238E27FC236}">
                <a16:creationId xmlns:a16="http://schemas.microsoft.com/office/drawing/2014/main" id="{EC9544EA-E0E5-4FA5-9A17-44EE75726DA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4867275"/>
            <a:ext cx="9144000" cy="3231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defRPr/>
            </a:pPr>
            <a:r>
              <a:rPr lang="en-GB" altLang="en-US" sz="1500"/>
              <a:t> </a:t>
            </a:r>
          </a:p>
        </p:txBody>
      </p:sp>
      <p:sp>
        <p:nvSpPr>
          <p:cNvPr id="5" name="MSIPCMContentMarking" descr="{&quot;HashCode&quot;:47140605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B147AE51-8C3B-A00B-BBB6-680482B4674C}"/>
              </a:ext>
            </a:extLst>
          </p:cNvPr>
          <p:cNvSpPr txBox="1"/>
          <p:nvPr userDrawn="1"/>
        </p:nvSpPr>
        <p:spPr>
          <a:xfrm>
            <a:off x="0" y="55929"/>
            <a:ext cx="168171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  <p:sp>
        <p:nvSpPr>
          <p:cNvPr id="4" name="MSIPCMContentMarking" descr="{&quot;HashCode&quot;:-153723364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63F8CD3F-53B6-5DA3-61E5-A66A7DC4DCFB}"/>
              </a:ext>
            </a:extLst>
          </p:cNvPr>
          <p:cNvSpPr txBox="1"/>
          <p:nvPr userDrawn="1"/>
        </p:nvSpPr>
        <p:spPr>
          <a:xfrm>
            <a:off x="0" y="0"/>
            <a:ext cx="1980788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GB" sz="1200">
                <a:solidFill>
                  <a:srgbClr val="FFA500"/>
                </a:solidFill>
                <a:latin typeface="Calibri" panose="020F0502020204030204" pitchFamily="34" charset="0"/>
              </a:rPr>
              <a:t>Classification: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8661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+mj-lt"/>
          <a:ea typeface="MS PGothic" pitchFamily="34" charset="-128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5pPr>
      <a:lvl6pPr marL="342900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ＭＳ Ｐゴシック" pitchFamily="16" charset="-128"/>
        </a:defRPr>
      </a:lvl6pPr>
      <a:lvl7pPr marL="685800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ＭＳ Ｐゴシック" pitchFamily="16" charset="-128"/>
        </a:defRPr>
      </a:lvl7pPr>
      <a:lvl8pPr marL="1028700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ＭＳ Ｐゴシック" pitchFamily="16" charset="-128"/>
        </a:defRPr>
      </a:lvl8pPr>
      <a:lvl9pPr marL="1371600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ＭＳ Ｐゴシック" pitchFamily="16" charset="-128"/>
        </a:defRPr>
      </a:lvl9pPr>
    </p:titleStyle>
    <p:bodyStyle>
      <a:lvl1pPr marL="142875" indent="-142875" algn="l" rtl="0" eaLnBrk="0" fontAlgn="base" hangingPunct="0">
        <a:spcBef>
          <a:spcPct val="0"/>
        </a:spcBef>
        <a:spcAft>
          <a:spcPct val="0"/>
        </a:spcAft>
        <a:buClr>
          <a:srgbClr val="15864F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428625" indent="-142875" algn="l" rtl="0" eaLnBrk="0" fontAlgn="base" hangingPunct="0">
        <a:spcBef>
          <a:spcPct val="0"/>
        </a:spcBef>
        <a:spcAft>
          <a:spcPct val="0"/>
        </a:spcAft>
        <a:buClr>
          <a:srgbClr val="15864F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714375" indent="-142875" algn="l" rtl="0" eaLnBrk="0" fontAlgn="base" hangingPunct="0">
        <a:spcBef>
          <a:spcPct val="0"/>
        </a:spcBef>
        <a:spcAft>
          <a:spcPct val="0"/>
        </a:spcAft>
        <a:buClr>
          <a:srgbClr val="15864F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076325" indent="-142875" algn="l" rtl="0" eaLnBrk="0" fontAlgn="base" hangingPunct="0">
        <a:spcBef>
          <a:spcPct val="0"/>
        </a:spcBef>
        <a:spcAft>
          <a:spcPct val="0"/>
        </a:spcAft>
        <a:buClr>
          <a:srgbClr val="15864F"/>
        </a:buClr>
        <a:buFont typeface="Wingdings" panose="05000000000000000000" pitchFamily="2" charset="2"/>
        <a:buChar char="§"/>
        <a:defRPr sz="105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1428750" indent="-142875" algn="l" rtl="0" eaLnBrk="0" fontAlgn="base" hangingPunct="0">
        <a:spcBef>
          <a:spcPct val="0"/>
        </a:spcBef>
        <a:spcAft>
          <a:spcPct val="0"/>
        </a:spcAft>
        <a:buClr>
          <a:srgbClr val="15864F"/>
        </a:buClr>
        <a:buFont typeface="Wingdings" panose="05000000000000000000" pitchFamily="2" charset="2"/>
        <a:buChar char="§"/>
        <a:defRPr sz="9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1771650" indent="-142875" algn="l" rtl="0" fontAlgn="base">
        <a:spcBef>
          <a:spcPct val="0"/>
        </a:spcBef>
        <a:spcAft>
          <a:spcPct val="0"/>
        </a:spcAft>
        <a:buClr>
          <a:srgbClr val="15864F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ea typeface="+mn-ea"/>
        </a:defRPr>
      </a:lvl6pPr>
      <a:lvl7pPr marL="2114550" indent="-142875" algn="l" rtl="0" fontAlgn="base">
        <a:spcBef>
          <a:spcPct val="0"/>
        </a:spcBef>
        <a:spcAft>
          <a:spcPct val="0"/>
        </a:spcAft>
        <a:buClr>
          <a:srgbClr val="15864F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ea typeface="+mn-ea"/>
        </a:defRPr>
      </a:lvl7pPr>
      <a:lvl8pPr marL="2457450" indent="-142875" algn="l" rtl="0" fontAlgn="base">
        <a:spcBef>
          <a:spcPct val="0"/>
        </a:spcBef>
        <a:spcAft>
          <a:spcPct val="0"/>
        </a:spcAft>
        <a:buClr>
          <a:srgbClr val="15864F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ea typeface="+mn-ea"/>
        </a:defRPr>
      </a:lvl8pPr>
      <a:lvl9pPr marL="2800350" indent="-142875" algn="l" rtl="0" fontAlgn="base">
        <a:spcBef>
          <a:spcPct val="0"/>
        </a:spcBef>
        <a:spcAft>
          <a:spcPct val="0"/>
        </a:spcAft>
        <a:buClr>
          <a:srgbClr val="15864F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68.xml"/><Relationship Id="rId1" Type="http://schemas.openxmlformats.org/officeDocument/2006/relationships/themeOverride" Target="../theme/themeOverr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77" y="347820"/>
            <a:ext cx="6815255" cy="528206"/>
          </a:xfrm>
        </p:spPr>
        <p:txBody>
          <a:bodyPr/>
          <a:lstStyle/>
          <a:p>
            <a:r>
              <a:rPr lang="en-GB" sz="1800" dirty="0"/>
              <a:t>Data Mask - Python Script for Protecting Data Privac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AE6989-60F2-98C7-3C96-91EDD446D025}"/>
              </a:ext>
            </a:extLst>
          </p:cNvPr>
          <p:cNvSpPr txBox="1"/>
          <p:nvPr/>
        </p:nvSpPr>
        <p:spPr>
          <a:xfrm>
            <a:off x="797695" y="2480983"/>
            <a:ext cx="69521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 algn="ctr">
              <a:buNone/>
            </a:pPr>
            <a:r>
              <a:rPr lang="en-GB" sz="2000" b="0" strike="noStrike" spc="-1" dirty="0">
                <a:solidFill>
                  <a:srgbClr val="000000"/>
                </a:solidFill>
                <a:latin typeface="Arial"/>
              </a:rPr>
              <a:t>Safeguarding Privacy Through Data Anonymization</a:t>
            </a:r>
          </a:p>
        </p:txBody>
      </p:sp>
    </p:spTree>
    <p:extLst>
      <p:ext uri="{BB962C8B-B14F-4D97-AF65-F5344CB8AC3E}">
        <p14:creationId xmlns:p14="http://schemas.microsoft.com/office/powerpoint/2010/main" val="3475339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77" y="347820"/>
            <a:ext cx="6815255" cy="528206"/>
          </a:xfrm>
        </p:spPr>
        <p:txBody>
          <a:bodyPr/>
          <a:lstStyle/>
          <a:p>
            <a:r>
              <a:rPr lang="en-GB" sz="1800" dirty="0"/>
              <a:t>Purpose of Data Mask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7E2BC-6A2D-771E-84F2-27F790A3E9C5}"/>
              </a:ext>
            </a:extLst>
          </p:cNvPr>
          <p:cNvSpPr txBox="1"/>
          <p:nvPr/>
        </p:nvSpPr>
        <p:spPr>
          <a:xfrm>
            <a:off x="228599" y="1699717"/>
            <a:ext cx="8417860" cy="10977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This script aims to protect personally identifiable information (PII) in datasets.</a:t>
            </a:r>
          </a:p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It replaces real data in specified columns with realistic fake data using the Faker library.</a:t>
            </a:r>
          </a:p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Anonymizing data helps preserve user privacy and comply with data protection regulations.</a:t>
            </a:r>
          </a:p>
        </p:txBody>
      </p:sp>
    </p:spTree>
    <p:extLst>
      <p:ext uri="{BB962C8B-B14F-4D97-AF65-F5344CB8AC3E}">
        <p14:creationId xmlns:p14="http://schemas.microsoft.com/office/powerpoint/2010/main" val="1126164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77" y="347820"/>
            <a:ext cx="6815255" cy="528206"/>
          </a:xfrm>
        </p:spPr>
        <p:txBody>
          <a:bodyPr/>
          <a:lstStyle/>
          <a:p>
            <a:r>
              <a:rPr lang="en-GB" sz="1800" dirty="0"/>
              <a:t>How Does it work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087F28-BD8A-71A2-159C-24D0A4235A3E}"/>
              </a:ext>
            </a:extLst>
          </p:cNvPr>
          <p:cNvSpPr txBox="1"/>
          <p:nvPr/>
        </p:nvSpPr>
        <p:spPr>
          <a:xfrm>
            <a:off x="275665" y="1286783"/>
            <a:ext cx="8464923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1520" indent="-27864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The script reads a configuration file provided as input.</a:t>
            </a:r>
          </a:p>
          <a:p>
            <a:pPr marL="371520" indent="-27864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It identifies datasets and columns to anonymize based on the configuration.</a:t>
            </a:r>
          </a:p>
          <a:p>
            <a:pPr marL="371520" indent="-27864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Real data in specified columns is replaced with fake data.</a:t>
            </a:r>
          </a:p>
          <a:p>
            <a:pPr marL="371520" indent="-27864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The anonymized dataset is saved in a specified output directory, preserving the original structure and filename.</a:t>
            </a:r>
          </a:p>
        </p:txBody>
      </p:sp>
    </p:spTree>
    <p:extLst>
      <p:ext uri="{BB962C8B-B14F-4D97-AF65-F5344CB8AC3E}">
        <p14:creationId xmlns:p14="http://schemas.microsoft.com/office/powerpoint/2010/main" val="996837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77" y="347820"/>
            <a:ext cx="6815255" cy="528206"/>
          </a:xfrm>
        </p:spPr>
        <p:txBody>
          <a:bodyPr/>
          <a:lstStyle/>
          <a:p>
            <a:r>
              <a:rPr lang="en-GB" sz="1800" b="0" strike="noStrike" spc="-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GB" sz="1800" dirty="0"/>
              <a:t>Input Requirements</a:t>
            </a:r>
          </a:p>
        </p:txBody>
      </p:sp>
      <p:sp>
        <p:nvSpPr>
          <p:cNvPr id="8" name="PlaceHolder 2">
            <a:extLst>
              <a:ext uri="{FF2B5EF4-FFF2-40B4-BE49-F238E27FC236}">
                <a16:creationId xmlns:a16="http://schemas.microsoft.com/office/drawing/2014/main" id="{36858D3D-E0D5-33CB-25E1-C4FE8535BB18}"/>
              </a:ext>
            </a:extLst>
          </p:cNvPr>
          <p:cNvSpPr txBox="1">
            <a:spLocks/>
          </p:cNvSpPr>
          <p:nvPr/>
        </p:nvSpPr>
        <p:spPr>
          <a:xfrm>
            <a:off x="524172" y="1225747"/>
            <a:ext cx="4935334" cy="2209977"/>
          </a:xfrm>
          <a:prstGeom prst="rect">
            <a:avLst/>
          </a:prstGeom>
          <a:noFill/>
          <a:ln w="0">
            <a:noFill/>
          </a:ln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36960" fontAlgn="auto">
              <a:spcAft>
                <a:spcPts val="0"/>
              </a:spcAft>
            </a:pPr>
            <a:r>
              <a:rPr lang="en-GB" sz="1400" kern="0" cap="none" spc="-1" dirty="0">
                <a:solidFill>
                  <a:srgbClr val="000000"/>
                </a:solidFill>
                <a:latin typeface="Arial"/>
                <a:ea typeface="+mn-ea"/>
                <a:cs typeface="Arial" charset="0"/>
              </a:rPr>
              <a:t>Configuration file specifying</a:t>
            </a:r>
          </a:p>
          <a:p>
            <a:pPr marL="648810" indent="-171450" fontAlgn="auto">
              <a:spcBef>
                <a:spcPts val="850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buChar char="Ø"/>
            </a:pPr>
            <a:r>
              <a:rPr lang="en-GB" sz="1200" b="0" cap="none" spc="-1" dirty="0">
                <a:solidFill>
                  <a:srgbClr val="000000"/>
                </a:solidFill>
                <a:latin typeface="Arial"/>
              </a:rPr>
              <a:t>Base path of the datasets.</a:t>
            </a:r>
            <a:endParaRPr lang="en-GB" sz="1200" b="0" cap="none" spc="-1" dirty="0">
              <a:solidFill>
                <a:srgbClr val="000000"/>
              </a:solidFill>
              <a:latin typeface="Arial"/>
              <a:ea typeface="PingFang SC"/>
            </a:endParaRPr>
          </a:p>
          <a:p>
            <a:pPr marL="648810" indent="-171450" fontAlgn="auto">
              <a:spcBef>
                <a:spcPts val="850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buChar char="Ø"/>
            </a:pPr>
            <a:r>
              <a:rPr lang="en-GB" sz="1200" b="0" cap="none" spc="-1" dirty="0">
                <a:solidFill>
                  <a:srgbClr val="000000"/>
                </a:solidFill>
                <a:latin typeface="Arial"/>
              </a:rPr>
              <a:t>Input and output folder names.</a:t>
            </a:r>
            <a:endParaRPr lang="en-GB" sz="1200" b="0" cap="none" spc="-1" dirty="0">
              <a:solidFill>
                <a:srgbClr val="000000"/>
              </a:solidFill>
              <a:latin typeface="Arial"/>
              <a:ea typeface="PingFang SC"/>
            </a:endParaRPr>
          </a:p>
          <a:p>
            <a:pPr marL="673920" lvl="1" indent="0" defTabSz="914400" fontAlgn="auto">
              <a:spcBef>
                <a:spcPts val="1134"/>
              </a:spcBef>
              <a:spcAft>
                <a:spcPts val="0"/>
              </a:spcAft>
            </a:pPr>
            <a:r>
              <a:rPr lang="en-GB" b="1" kern="0" spc="-1" dirty="0">
                <a:solidFill>
                  <a:srgbClr val="000000"/>
                </a:solidFill>
                <a:latin typeface="Arial"/>
              </a:rPr>
              <a:t>Dataset sections including</a:t>
            </a:r>
          </a:p>
          <a:p>
            <a:pPr marL="901530" indent="-171450" fontAlgn="auto"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buChar char="Ø"/>
            </a:pPr>
            <a:r>
              <a:rPr lang="en-GB" sz="1200" b="0" cap="none" spc="-1" dirty="0">
                <a:solidFill>
                  <a:srgbClr val="000000"/>
                </a:solidFill>
                <a:latin typeface="Arial"/>
              </a:rPr>
              <a:t>Source file name.</a:t>
            </a:r>
          </a:p>
          <a:p>
            <a:pPr marL="901530" indent="-171450" fontAlgn="auto"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buChar char="Ø"/>
            </a:pPr>
            <a:r>
              <a:rPr lang="en-GB" sz="1200" b="0" cap="none" spc="-1" dirty="0">
                <a:solidFill>
                  <a:srgbClr val="000000"/>
                </a:solidFill>
                <a:latin typeface="Arial"/>
              </a:rPr>
              <a:t>Source folder name.</a:t>
            </a:r>
          </a:p>
          <a:p>
            <a:pPr marL="901530" indent="-171450" fontAlgn="auto"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buChar char="Ø"/>
            </a:pPr>
            <a:r>
              <a:rPr lang="en-GB" sz="1200" b="0" cap="none" spc="-1" dirty="0">
                <a:solidFill>
                  <a:srgbClr val="000000"/>
                </a:solidFill>
                <a:latin typeface="Arial"/>
              </a:rPr>
              <a:t>Columns to anonymize and the type of fake data to use.</a:t>
            </a:r>
          </a:p>
          <a:p>
            <a:pPr marL="901530" indent="-171450" fontAlgn="auto"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buChar char="Ø"/>
            </a:pPr>
            <a:endParaRPr lang="en-GB" sz="1200" b="0" cap="none" spc="-1" dirty="0">
              <a:solidFill>
                <a:srgbClr val="000000"/>
              </a:solidFill>
              <a:latin typeface="Arial"/>
            </a:endParaRPr>
          </a:p>
          <a:p>
            <a:pPr marL="730080" fontAlgn="auto"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</a:pPr>
            <a:endParaRPr lang="en-GB" sz="1200" b="0" cap="non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15B7B11-D19D-92B1-20F6-5C17BC4049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365" y="3435724"/>
            <a:ext cx="5429530" cy="1480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8378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165" y="320926"/>
            <a:ext cx="6815255" cy="528206"/>
          </a:xfrm>
        </p:spPr>
        <p:txBody>
          <a:bodyPr/>
          <a:lstStyle/>
          <a:p>
            <a:r>
              <a:rPr lang="en-GB" sz="1800" dirty="0"/>
              <a:t>Data</a:t>
            </a:r>
            <a:r>
              <a:rPr lang="en-GB" sz="1800" b="0" strike="noStrike" spc="-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GB" sz="1800" dirty="0"/>
              <a:t>Masking Process</a:t>
            </a:r>
          </a:p>
        </p:txBody>
      </p:sp>
      <p:sp>
        <p:nvSpPr>
          <p:cNvPr id="4" name="PlaceHolder 2">
            <a:extLst>
              <a:ext uri="{FF2B5EF4-FFF2-40B4-BE49-F238E27FC236}">
                <a16:creationId xmlns:a16="http://schemas.microsoft.com/office/drawing/2014/main" id="{9C24BE9F-18B4-EEA9-5B90-06FF908C0E07}"/>
              </a:ext>
            </a:extLst>
          </p:cNvPr>
          <p:cNvSpPr txBox="1">
            <a:spLocks/>
          </p:cNvSpPr>
          <p:nvPr/>
        </p:nvSpPr>
        <p:spPr>
          <a:xfrm>
            <a:off x="423318" y="1280424"/>
            <a:ext cx="7362529" cy="1459005"/>
          </a:xfrm>
          <a:prstGeom prst="rect">
            <a:avLst/>
          </a:prstGeom>
          <a:noFill/>
          <a:ln w="0">
            <a:noFill/>
          </a:ln>
        </p:spPr>
        <p:txBody>
          <a:bodyPr vert="horz" lIns="0" tIns="0" rIns="0" bIns="0" rtlCol="0" anchor="t">
            <a:norm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32000" indent="-324000" defTabSz="914400" fontAlgn="auto">
              <a:lnSpc>
                <a:spcPct val="90000"/>
              </a:lnSpc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600" b="0" cap="none" spc="-1" dirty="0">
                <a:solidFill>
                  <a:srgbClr val="000000"/>
                </a:solidFill>
                <a:latin typeface="Arial"/>
              </a:rPr>
              <a:t>For each dataset in the configuration, the script identifies columns to anonymize.</a:t>
            </a:r>
          </a:p>
          <a:p>
            <a:pPr marL="432000" indent="-324000" defTabSz="914400" fontAlgn="auto">
              <a:lnSpc>
                <a:spcPct val="90000"/>
              </a:lnSpc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600" b="0" cap="none" spc="-1" dirty="0">
                <a:solidFill>
                  <a:srgbClr val="000000"/>
                </a:solidFill>
                <a:latin typeface="Arial"/>
              </a:rPr>
              <a:t>Fake data of the specified type is generated for each column.</a:t>
            </a:r>
          </a:p>
          <a:p>
            <a:pPr marL="432000" indent="-324000" defTabSz="914400" fontAlgn="auto">
              <a:lnSpc>
                <a:spcPct val="90000"/>
              </a:lnSpc>
              <a:spcBef>
                <a:spcPts val="1417"/>
              </a:spcBef>
              <a:spcAft>
                <a:spcPts val="0"/>
              </a:spcAft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600" b="0" cap="none" spc="-1" dirty="0">
                <a:solidFill>
                  <a:srgbClr val="000000"/>
                </a:solidFill>
                <a:latin typeface="Arial"/>
              </a:rPr>
              <a:t>Original data in these columns is replaced with the generated fake data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905877-3042-68FA-1C43-ABB5A15073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380" y="2840411"/>
            <a:ext cx="6648450" cy="107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557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77" y="347820"/>
            <a:ext cx="6815255" cy="528206"/>
          </a:xfrm>
        </p:spPr>
        <p:txBody>
          <a:bodyPr/>
          <a:lstStyle/>
          <a:p>
            <a:r>
              <a:rPr lang="en-GB" sz="1800" dirty="0"/>
              <a:t>Example Run of Data Mask Progra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3B88F2-4A96-A02C-D997-BD1CDD9D4994}"/>
              </a:ext>
            </a:extLst>
          </p:cNvPr>
          <p:cNvSpPr txBox="1"/>
          <p:nvPr/>
        </p:nvSpPr>
        <p:spPr>
          <a:xfrm>
            <a:off x="380677" y="999525"/>
            <a:ext cx="7485852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93760" indent="-2203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Configuration file: config.dat</a:t>
            </a:r>
          </a:p>
          <a:p>
            <a:pPr marL="293760" indent="-2203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Suppose the configuration file specifies a dataset users.csv in the data folder.</a:t>
            </a:r>
          </a:p>
          <a:p>
            <a:pPr marL="293760" indent="-2203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Columns for anonymization: </a:t>
            </a:r>
            <a:r>
              <a:rPr lang="en-GB" sz="1400" b="0" strike="noStrike" spc="-1" dirty="0" err="1">
                <a:solidFill>
                  <a:srgbClr val="000000"/>
                </a:solidFill>
                <a:latin typeface="Arial"/>
              </a:rPr>
              <a:t>first_name</a:t>
            </a: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 and email.</a:t>
            </a:r>
          </a:p>
          <a:p>
            <a:pPr marL="293760" indent="-2203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The script replaces all first names and emails in users.csv with fake names and emails.</a:t>
            </a:r>
          </a:p>
          <a:p>
            <a:pPr marL="293760" indent="-2203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The anonymized dataset is saved as users_mask.csv in the specified output folder.</a:t>
            </a:r>
          </a:p>
          <a:p>
            <a:pPr marL="36000">
              <a:spcBef>
                <a:spcPts val="0"/>
              </a:spcBef>
              <a:buClr>
                <a:srgbClr val="000000"/>
              </a:buClr>
              <a:buSzPct val="45000"/>
            </a:pPr>
            <a:r>
              <a:rPr lang="en-GB" spc="-1" dirty="0">
                <a:solidFill>
                  <a:srgbClr val="000000"/>
                </a:solidFill>
                <a:latin typeface="Arial"/>
              </a:rPr>
              <a:t>	</a:t>
            </a:r>
          </a:p>
          <a:p>
            <a:pPr marL="36000">
              <a:spcBef>
                <a:spcPts val="0"/>
              </a:spcBef>
              <a:buClr>
                <a:srgbClr val="000000"/>
              </a:buClr>
              <a:buSzPct val="45000"/>
            </a:pPr>
            <a:r>
              <a:rPr lang="en-GB" spc="-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100" b="1" spc="-1" dirty="0">
                <a:solidFill>
                  <a:srgbClr val="000000"/>
                </a:solidFill>
                <a:latin typeface="Arial"/>
              </a:rPr>
              <a:t>Syntax:</a:t>
            </a:r>
          </a:p>
          <a:p>
            <a:pPr marL="36000">
              <a:spcBef>
                <a:spcPts val="0"/>
              </a:spcBef>
              <a:buClr>
                <a:srgbClr val="000000"/>
              </a:buClr>
              <a:buSzPct val="45000"/>
            </a:pPr>
            <a:r>
              <a:rPr lang="en-GB" spc="-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100" spc="-1" dirty="0" err="1">
                <a:solidFill>
                  <a:srgbClr val="000000"/>
                </a:solidFill>
                <a:latin typeface="Arial"/>
              </a:rPr>
              <a:t>py</a:t>
            </a:r>
            <a:r>
              <a:rPr lang="en-GB" sz="1100" spc="-1" dirty="0">
                <a:solidFill>
                  <a:srgbClr val="000000"/>
                </a:solidFill>
                <a:latin typeface="Arial"/>
              </a:rPr>
              <a:t> DataMask_PII.py &lt;Config file&gt;</a:t>
            </a:r>
          </a:p>
          <a:p>
            <a:pPr marL="36000">
              <a:spcBef>
                <a:spcPts val="0"/>
              </a:spcBef>
              <a:buClr>
                <a:srgbClr val="000000"/>
              </a:buClr>
              <a:buSzPct val="45000"/>
            </a:pPr>
            <a:r>
              <a:rPr lang="en-GB" spc="-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100" b="1" spc="-1" dirty="0">
                <a:solidFill>
                  <a:srgbClr val="000000"/>
                </a:solidFill>
                <a:latin typeface="Arial"/>
              </a:rPr>
              <a:t>Example:</a:t>
            </a:r>
          </a:p>
          <a:p>
            <a:pPr marL="36000">
              <a:spcBef>
                <a:spcPts val="0"/>
              </a:spcBef>
              <a:buClr>
                <a:srgbClr val="000000"/>
              </a:buClr>
              <a:buSzPct val="45000"/>
            </a:pPr>
            <a:r>
              <a:rPr lang="en-GB" spc="-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100" spc="-1" dirty="0" err="1">
                <a:solidFill>
                  <a:srgbClr val="000000"/>
                </a:solidFill>
                <a:latin typeface="Arial"/>
              </a:rPr>
              <a:t>py</a:t>
            </a:r>
            <a:r>
              <a:rPr lang="en-GB" sz="1100" spc="-1" dirty="0">
                <a:solidFill>
                  <a:srgbClr val="000000"/>
                </a:solidFill>
                <a:latin typeface="Arial"/>
              </a:rPr>
              <a:t> DataMask_PII.py Collateral.dat</a:t>
            </a:r>
          </a:p>
          <a:p>
            <a:pPr marL="73440">
              <a:spcBef>
                <a:spcPts val="1417"/>
              </a:spcBef>
              <a:buClr>
                <a:srgbClr val="000000"/>
              </a:buClr>
              <a:buSzPct val="45000"/>
            </a:pPr>
            <a:endParaRPr lang="en-GB" spc="-1" dirty="0">
              <a:solidFill>
                <a:srgbClr val="000000"/>
              </a:solidFill>
              <a:latin typeface="Arial"/>
            </a:endParaRPr>
          </a:p>
          <a:p>
            <a:pPr marL="293760" indent="-2203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endParaRPr lang="en-GB" sz="14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6203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77" y="347820"/>
            <a:ext cx="6815255" cy="528206"/>
          </a:xfrm>
        </p:spPr>
        <p:txBody>
          <a:bodyPr/>
          <a:lstStyle/>
          <a:p>
            <a:r>
              <a:rPr lang="en-GB" sz="1800" dirty="0"/>
              <a:t>Logg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078E53-5B6A-5051-1E9E-CF600A6DEFA3}"/>
              </a:ext>
            </a:extLst>
          </p:cNvPr>
          <p:cNvSpPr txBox="1"/>
          <p:nvPr/>
        </p:nvSpPr>
        <p:spPr>
          <a:xfrm>
            <a:off x="295835" y="1465728"/>
            <a:ext cx="7288306" cy="10977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The script logs its operations, errors, and warnings.</a:t>
            </a:r>
          </a:p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Logs are saved in the log directory, timestamped to when the script was run.</a:t>
            </a:r>
          </a:p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Logging helps track script operations and troubleshoot issues.</a:t>
            </a:r>
          </a:p>
        </p:txBody>
      </p:sp>
    </p:spTree>
    <p:extLst>
      <p:ext uri="{BB962C8B-B14F-4D97-AF65-F5344CB8AC3E}">
        <p14:creationId xmlns:p14="http://schemas.microsoft.com/office/powerpoint/2010/main" val="24427361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0">
            <a:extLst>
              <a:ext uri="{FF2B5EF4-FFF2-40B4-BE49-F238E27FC236}">
                <a16:creationId xmlns:a16="http://schemas.microsoft.com/office/drawing/2014/main" id="{2DAB0C36-552B-42EC-84B7-075687E34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77" y="347820"/>
            <a:ext cx="6815255" cy="528206"/>
          </a:xfrm>
        </p:spPr>
        <p:txBody>
          <a:bodyPr/>
          <a:lstStyle/>
          <a:p>
            <a:r>
              <a:rPr lang="en-GB" sz="1800" dirty="0"/>
              <a:t>Conclu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5BE952-25FC-9D5E-A18F-D6C8EAFBA31A}"/>
              </a:ext>
            </a:extLst>
          </p:cNvPr>
          <p:cNvSpPr txBox="1"/>
          <p:nvPr/>
        </p:nvSpPr>
        <p:spPr>
          <a:xfrm>
            <a:off x="248771" y="1484272"/>
            <a:ext cx="6609229" cy="1744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160" indent="-2851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DataMask.py is a tool for protecting privacy and complying with data protection regulations.</a:t>
            </a:r>
          </a:p>
          <a:p>
            <a:pPr marL="380160" indent="-2851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It anonymizes specified columns in datasets by replacing real data with realistic fake data.</a:t>
            </a:r>
          </a:p>
          <a:p>
            <a:pPr marL="380160" indent="-28512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GB" sz="1400" b="0" strike="noStrike" spc="-1" dirty="0">
                <a:solidFill>
                  <a:srgbClr val="000000"/>
                </a:solidFill>
                <a:latin typeface="Arial"/>
              </a:rPr>
              <a:t>The script maintains original data structures, making it suitable for anonymizing large and complex datasets.</a:t>
            </a:r>
          </a:p>
        </p:txBody>
      </p:sp>
    </p:spTree>
    <p:extLst>
      <p:ext uri="{BB962C8B-B14F-4D97-AF65-F5344CB8AC3E}">
        <p14:creationId xmlns:p14="http://schemas.microsoft.com/office/powerpoint/2010/main" val="2942613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G4.5Ow20ulFJ3LuDtW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ARhHXSfUCdv7TNY_QX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zU1m3REGxOuhDvkjg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zQC5xcoEW_xAZ50bbx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0fzoZ6ykW4jrysXmZ1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oP3lig40CmWlrTyTQ.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8Px.2oDEeqlIljrh62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lhE43gZ0mnHVjWUafU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cczLCnR0i5WHMSOLYG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G4.5Ow20ulFJ3LuDtW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ARhHXSfUCdv7TNY_QX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Office Theme">
  <a:themeElements>
    <a:clrScheme name="LGB template">
      <a:dk1>
        <a:srgbClr val="000000"/>
      </a:dk1>
      <a:lt1>
        <a:srgbClr val="FFFFFF"/>
      </a:lt1>
      <a:dk2>
        <a:srgbClr val="575756"/>
      </a:dk2>
      <a:lt2>
        <a:srgbClr val="E5EAEE"/>
      </a:lt2>
      <a:accent1>
        <a:srgbClr val="00864F"/>
      </a:accent1>
      <a:accent2>
        <a:srgbClr val="249869"/>
      </a:accent2>
      <a:accent3>
        <a:srgbClr val="50AA86"/>
      </a:accent3>
      <a:accent4>
        <a:srgbClr val="7FC3A7"/>
      </a:accent4>
      <a:accent5>
        <a:srgbClr val="ACD8C6"/>
      </a:accent5>
      <a:accent6>
        <a:srgbClr val="CCE7DC"/>
      </a:accent6>
      <a:hlink>
        <a:srgbClr val="066A2E"/>
      </a:hlink>
      <a:folHlink>
        <a:srgbClr val="066A2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0" indent="0">
          <a:lnSpc>
            <a:spcPct val="90000"/>
          </a:lnSpc>
          <a:spcAft>
            <a:spcPts val="600"/>
          </a:spcAft>
          <a:buClr>
            <a:schemeClr val="accent1"/>
          </a:buClr>
          <a:buFont typeface="Arial" panose="020B0604020202020204" pitchFamily="34" charset="0"/>
          <a:buNone/>
          <a:defRPr sz="10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LGB template">
      <a:dk1>
        <a:srgbClr val="000000"/>
      </a:dk1>
      <a:lt1>
        <a:srgbClr val="FFFFFF"/>
      </a:lt1>
      <a:dk2>
        <a:srgbClr val="575756"/>
      </a:dk2>
      <a:lt2>
        <a:srgbClr val="E5EAEE"/>
      </a:lt2>
      <a:accent1>
        <a:srgbClr val="00864F"/>
      </a:accent1>
      <a:accent2>
        <a:srgbClr val="249869"/>
      </a:accent2>
      <a:accent3>
        <a:srgbClr val="50AA86"/>
      </a:accent3>
      <a:accent4>
        <a:srgbClr val="7FC3A7"/>
      </a:accent4>
      <a:accent5>
        <a:srgbClr val="ACD8C6"/>
      </a:accent5>
      <a:accent6>
        <a:srgbClr val="CCE7DC"/>
      </a:accent6>
      <a:hlink>
        <a:srgbClr val="066A2E"/>
      </a:hlink>
      <a:folHlink>
        <a:srgbClr val="066A2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b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0" indent="0">
          <a:lnSpc>
            <a:spcPct val="90000"/>
          </a:lnSpc>
          <a:spcAft>
            <a:spcPts val="600"/>
          </a:spcAft>
          <a:buClr>
            <a:schemeClr val="accent1"/>
          </a:buClr>
          <a:buFont typeface="Arial" panose="020B0604020202020204" pitchFamily="34" charset="0"/>
          <a:buNone/>
          <a:defRPr sz="10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LOYDS Banking group_CF_LN9475">
  <a:themeElements>
    <a:clrScheme name="Current">
      <a:dk1>
        <a:srgbClr val="000000"/>
      </a:dk1>
      <a:lt1>
        <a:srgbClr val="FFFFFF"/>
      </a:lt1>
      <a:dk2>
        <a:srgbClr val="297B52"/>
      </a:dk2>
      <a:lt2>
        <a:srgbClr val="FFFFFF"/>
      </a:lt2>
      <a:accent1>
        <a:srgbClr val="C0EAD5"/>
      </a:accent1>
      <a:accent2>
        <a:srgbClr val="3AB075"/>
      </a:accent2>
      <a:accent3>
        <a:srgbClr val="297B52"/>
      </a:accent3>
      <a:accent4>
        <a:srgbClr val="464646"/>
      </a:accent4>
      <a:accent5>
        <a:srgbClr val="FF6600"/>
      </a:accent5>
      <a:accent6>
        <a:srgbClr val="808080"/>
      </a:accent6>
      <a:hlink>
        <a:srgbClr val="297B52"/>
      </a:hlink>
      <a:folHlink>
        <a:srgbClr val="46464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LLOYDS Banking group_CF_LN9475 1">
        <a:dk1>
          <a:srgbClr val="000000"/>
        </a:dk1>
        <a:lt1>
          <a:srgbClr val="FFFFFF"/>
        </a:lt1>
        <a:dk2>
          <a:srgbClr val="297B52"/>
        </a:dk2>
        <a:lt2>
          <a:srgbClr val="FFFFFF"/>
        </a:lt2>
        <a:accent1>
          <a:srgbClr val="C0EAD5"/>
        </a:accent1>
        <a:accent2>
          <a:srgbClr val="3AB075"/>
        </a:accent2>
        <a:accent3>
          <a:srgbClr val="FFFFFF"/>
        </a:accent3>
        <a:accent4>
          <a:srgbClr val="000000"/>
        </a:accent4>
        <a:accent5>
          <a:srgbClr val="DCF3E7"/>
        </a:accent5>
        <a:accent6>
          <a:srgbClr val="349F69"/>
        </a:accent6>
        <a:hlink>
          <a:srgbClr val="297B52"/>
        </a:hlink>
        <a:folHlink>
          <a:srgbClr val="46464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Office Theme">
  <a:themeElements>
    <a:clrScheme name="LGB template">
      <a:dk1>
        <a:srgbClr val="000000"/>
      </a:dk1>
      <a:lt1>
        <a:srgbClr val="FFFFFF"/>
      </a:lt1>
      <a:dk2>
        <a:srgbClr val="575756"/>
      </a:dk2>
      <a:lt2>
        <a:srgbClr val="E5EAEE"/>
      </a:lt2>
      <a:accent1>
        <a:srgbClr val="00864F"/>
      </a:accent1>
      <a:accent2>
        <a:srgbClr val="249869"/>
      </a:accent2>
      <a:accent3>
        <a:srgbClr val="50AA86"/>
      </a:accent3>
      <a:accent4>
        <a:srgbClr val="7FC3A7"/>
      </a:accent4>
      <a:accent5>
        <a:srgbClr val="ACD8C6"/>
      </a:accent5>
      <a:accent6>
        <a:srgbClr val="CCE7DC"/>
      </a:accent6>
      <a:hlink>
        <a:srgbClr val="066A2E"/>
      </a:hlink>
      <a:folHlink>
        <a:srgbClr val="066A2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864F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12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0" indent="0">
          <a:lnSpc>
            <a:spcPct val="90000"/>
          </a:lnSpc>
          <a:spcAft>
            <a:spcPts val="600"/>
          </a:spcAft>
          <a:buClr>
            <a:schemeClr val="accent1"/>
          </a:buClr>
          <a:buFont typeface="Arial" panose="020B0604020202020204" pitchFamily="34" charset="0"/>
          <a:buNone/>
          <a:defRPr sz="10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_PowerPoint2007Template20140121Finalv1">
  <a:themeElements>
    <a:clrScheme name="LGB template">
      <a:dk1>
        <a:srgbClr val="000000"/>
      </a:dk1>
      <a:lt1>
        <a:srgbClr val="FFFFFF"/>
      </a:lt1>
      <a:dk2>
        <a:srgbClr val="575756"/>
      </a:dk2>
      <a:lt2>
        <a:srgbClr val="E5EAEE"/>
      </a:lt2>
      <a:accent1>
        <a:srgbClr val="00864F"/>
      </a:accent1>
      <a:accent2>
        <a:srgbClr val="249869"/>
      </a:accent2>
      <a:accent3>
        <a:srgbClr val="50AA86"/>
      </a:accent3>
      <a:accent4>
        <a:srgbClr val="7FC3A7"/>
      </a:accent4>
      <a:accent5>
        <a:srgbClr val="ACD8C6"/>
      </a:accent5>
      <a:accent6>
        <a:srgbClr val="CCE7DC"/>
      </a:accent6>
      <a:hlink>
        <a:srgbClr val="066A2E"/>
      </a:hlink>
      <a:folHlink>
        <a:srgbClr val="066A2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108000" rIns="108000" bIns="108000" rtlCol="0" anchor="ctr">
        <a:noAutofit/>
      </a:bodyPr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108000" rIns="108000" bIns="108000" rtlCol="0" anchor="t" anchorCtr="0">
        <a:spAutoFit/>
      </a:bodyPr>
      <a:lstStyle>
        <a:defPPr>
          <a:lnSpc>
            <a:spcPct val="105000"/>
          </a:lnSpc>
          <a:defRPr sz="20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1_Lloyds Banking Group ">
  <a:themeElements>
    <a:clrScheme name="1_Lloyds Banking Group 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Lloyds Banking Group 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90500" marR="0" indent="-19050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0"/>
          </a:spcAft>
          <a:buClr>
            <a:srgbClr val="15864F"/>
          </a:buClr>
          <a:buSzTx/>
          <a:buFont typeface="Wingdings" pitchFamily="2" charset="2"/>
          <a:buChar char="§"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6" charset="-128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>
    <a:extraClrScheme>
      <a:clrScheme name="1_Lloyds Banking Group 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loyds Banking Group 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loyds Banking Group 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loyds Banking Group 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loyds Banking Group 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loyds Banking Group 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loyds Banking Group 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loyds Banking Group 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loyds Banking Group 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loyds Banking Group 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loyds Banking Group 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loyds Banking Group 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LGB template">
    <a:dk1>
      <a:srgbClr val="000000"/>
    </a:dk1>
    <a:lt1>
      <a:srgbClr val="FFFFFF"/>
    </a:lt1>
    <a:dk2>
      <a:srgbClr val="575756"/>
    </a:dk2>
    <a:lt2>
      <a:srgbClr val="E5EAEE"/>
    </a:lt2>
    <a:accent1>
      <a:srgbClr val="00864F"/>
    </a:accent1>
    <a:accent2>
      <a:srgbClr val="249869"/>
    </a:accent2>
    <a:accent3>
      <a:srgbClr val="50AA86"/>
    </a:accent3>
    <a:accent4>
      <a:srgbClr val="7FC3A7"/>
    </a:accent4>
    <a:accent5>
      <a:srgbClr val="ACD8C6"/>
    </a:accent5>
    <a:accent6>
      <a:srgbClr val="CCE7DC"/>
    </a:accent6>
    <a:hlink>
      <a:srgbClr val="066A2E"/>
    </a:hlink>
    <a:folHlink>
      <a:srgbClr val="066A2E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E482F69591404FA1308A4CC9910081" ma:contentTypeVersion="14" ma:contentTypeDescription="Create a new document." ma:contentTypeScope="" ma:versionID="1260c0972cd4149fc30e9af237b72b17">
  <xsd:schema xmlns:xsd="http://www.w3.org/2001/XMLSchema" xmlns:xs="http://www.w3.org/2001/XMLSchema" xmlns:p="http://schemas.microsoft.com/office/2006/metadata/properties" xmlns:ns1="http://schemas.microsoft.com/sharepoint/v3" xmlns:ns2="810fb89b-3607-4b65-a4b4-9fbe8607065e" xmlns:ns3="827e7169-f20d-4e9d-b2dc-17e22361bb4b" targetNamespace="http://schemas.microsoft.com/office/2006/metadata/properties" ma:root="true" ma:fieldsID="9326dbbde4886192fd607af9e0e12bdf" ns1:_="" ns2:_="" ns3:_="">
    <xsd:import namespace="http://schemas.microsoft.com/sharepoint/v3"/>
    <xsd:import namespace="810fb89b-3607-4b65-a4b4-9fbe8607065e"/>
    <xsd:import namespace="827e7169-f20d-4e9d-b2dc-17e22361bb4b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0fb89b-3607-4b65-a4b4-9fbe860706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6ee4fd0a-b474-4a32-a144-dd33b07833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7e7169-f20d-4e9d-b2dc-17e22361bb4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142531f6-5e6e-4976-b0f1-f92928dc2e22}" ma:internalName="TaxCatchAll" ma:showField="CatchAllData" ma:web="827e7169-f20d-4e9d-b2dc-17e22361b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>0</_ip_UnifiedCompliancePolicyUIAction>
    <_ip_UnifiedCompliancePolicyProperties xmlns="http://schemas.microsoft.com/sharepoint/v3" xsi:nil="true"/>
    <SharedWithUsers xmlns="827e7169-f20d-4e9d-b2dc-17e22361bb4b">
      <UserInfo>
        <DisplayName>Credit Suite Product Team Members</DisplayName>
        <AccountId>7</AccountId>
        <AccountType/>
      </UserInfo>
    </SharedWithUsers>
    <TaxCatchAll xmlns="827e7169-f20d-4e9d-b2dc-17e22361bb4b" xsi:nil="true"/>
    <lcf76f155ced4ddcb4097134ff3c332f xmlns="810fb89b-3607-4b65-a4b4-9fbe8607065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C1E5473-80AA-4CD4-9668-DA283B027EE7}">
  <ds:schemaRefs>
    <ds:schemaRef ds:uri="810fb89b-3607-4b65-a4b4-9fbe8607065e"/>
    <ds:schemaRef ds:uri="827e7169-f20d-4e9d-b2dc-17e22361bb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C801D98-572C-494A-8CFC-919BED5240D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8CDA97-C293-4354-882F-D5B78BF4AF76}">
  <ds:schemaRefs>
    <ds:schemaRef ds:uri="810fb89b-3607-4b65-a4b4-9fbe8607065e"/>
    <ds:schemaRef ds:uri="827e7169-f20d-4e9d-b2dc-17e22361bb4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1819167-4a76-40ee-8be1-56ba09e34419}" enabled="1" method="Privileged" siteId="{3ded2960-214a-46ff-8cf4-611f125e23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88</Words>
  <Application>Microsoft Office PowerPoint</Application>
  <PresentationFormat>On-screen Show (16:9)</PresentationFormat>
  <Paragraphs>44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Helvetica</vt:lpstr>
      <vt:lpstr>Wingdings</vt:lpstr>
      <vt:lpstr>1_Office Theme</vt:lpstr>
      <vt:lpstr>2_Office Theme</vt:lpstr>
      <vt:lpstr>LLOYDS Banking group_CF_LN9475</vt:lpstr>
      <vt:lpstr>3_Office Theme</vt:lpstr>
      <vt:lpstr>7_PowerPoint2007Template20140121Finalv1</vt:lpstr>
      <vt:lpstr>1_Lloyds Banking Group </vt:lpstr>
      <vt:lpstr>think-cell Slide</vt:lpstr>
      <vt:lpstr>Data Mask - Python Script for Protecting Data Privacy</vt:lpstr>
      <vt:lpstr>Purpose of Data Masking</vt:lpstr>
      <vt:lpstr>How Does it works?</vt:lpstr>
      <vt:lpstr> Input Requirements</vt:lpstr>
      <vt:lpstr>Data Masking Process</vt:lpstr>
      <vt:lpstr>Example Run of Data Mask Program</vt:lpstr>
      <vt:lpstr>Logging</vt:lpstr>
      <vt:lpstr>Conclusion</vt:lpstr>
    </vt:vector>
  </TitlesOfParts>
  <Company>Microsof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bina</dc:creator>
  <cp:lastModifiedBy>Dangeti, Ratna Kumar (Credit Systems)</cp:lastModifiedBy>
  <cp:revision>9</cp:revision>
  <dcterms:created xsi:type="dcterms:W3CDTF">2013-05-23T15:57:50Z</dcterms:created>
  <dcterms:modified xsi:type="dcterms:W3CDTF">2023-06-26T11:2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E482F69591404FA1308A4CC9910081</vt:lpwstr>
  </property>
  <property fmtid="{D5CDD505-2E9C-101B-9397-08002B2CF9AE}" pid="3" name="TitusGUID">
    <vt:lpwstr>996c268a-b2a7-43bd-a823-ffd2267724a8</vt:lpwstr>
  </property>
  <property fmtid="{D5CDD505-2E9C-101B-9397-08002B2CF9AE}" pid="4" name="TITUS">
    <vt:lpwstr>&lt;p align="center"&gt; &lt;/p&gt;</vt:lpwstr>
  </property>
  <property fmtid="{D5CDD505-2E9C-101B-9397-08002B2CF9AE}" pid="5" name="Classification">
    <vt:lpwstr>Internal</vt:lpwstr>
  </property>
  <property fmtid="{D5CDD505-2E9C-101B-9397-08002B2CF9AE}" pid="6" name="HeadersandFooters">
    <vt:lpwstr>None</vt:lpwstr>
  </property>
  <property fmtid="{D5CDD505-2E9C-101B-9397-08002B2CF9AE}" pid="7" name="MSIP_Label_f1819167-4a76-40ee-8be1-56ba09e34419_Enabled">
    <vt:lpwstr>true</vt:lpwstr>
  </property>
  <property fmtid="{D5CDD505-2E9C-101B-9397-08002B2CF9AE}" pid="8" name="MSIP_Label_f1819167-4a76-40ee-8be1-56ba09e34419_SetDate">
    <vt:lpwstr>2023-03-16T18:14:13Z</vt:lpwstr>
  </property>
  <property fmtid="{D5CDD505-2E9C-101B-9397-08002B2CF9AE}" pid="9" name="MSIP_Label_f1819167-4a76-40ee-8be1-56ba09e34419_Method">
    <vt:lpwstr>Privileged</vt:lpwstr>
  </property>
  <property fmtid="{D5CDD505-2E9C-101B-9397-08002B2CF9AE}" pid="10" name="MSIP_Label_f1819167-4a76-40ee-8be1-56ba09e34419_Name">
    <vt:lpwstr>f1819167-4a76-40ee-8be1-56ba09e34419</vt:lpwstr>
  </property>
  <property fmtid="{D5CDD505-2E9C-101B-9397-08002B2CF9AE}" pid="11" name="MSIP_Label_f1819167-4a76-40ee-8be1-56ba09e34419_SiteId">
    <vt:lpwstr>3ded2960-214a-46ff-8cf4-611f125e2398</vt:lpwstr>
  </property>
  <property fmtid="{D5CDD505-2E9C-101B-9397-08002B2CF9AE}" pid="12" name="MSIP_Label_f1819167-4a76-40ee-8be1-56ba09e34419_ActionId">
    <vt:lpwstr>fd26c6da-b6ee-4f51-bf44-0e10a3c87dd1</vt:lpwstr>
  </property>
  <property fmtid="{D5CDD505-2E9C-101B-9397-08002B2CF9AE}" pid="13" name="MSIP_Label_f1819167-4a76-40ee-8be1-56ba09e34419_ContentBits">
    <vt:lpwstr>1</vt:lpwstr>
  </property>
  <property fmtid="{D5CDD505-2E9C-101B-9397-08002B2CF9AE}" pid="14" name="MediaServiceImageTags">
    <vt:lpwstr/>
  </property>
</Properties>
</file>